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heme/theme5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theme/theme6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9" r:id="rId4"/>
    <p:sldMasterId id="2147483740" r:id="rId5"/>
    <p:sldMasterId id="2147483844" r:id="rId6"/>
    <p:sldMasterId id="2147483904" r:id="rId7"/>
    <p:sldMasterId id="2147483987" r:id="rId8"/>
    <p:sldMasterId id="2147484070" r:id="rId9"/>
    <p:sldMasterId id="2147484160" r:id="rId10"/>
  </p:sldMasterIdLst>
  <p:notesMasterIdLst>
    <p:notesMasterId r:id="rId16"/>
  </p:notesMasterIdLst>
  <p:handoutMasterIdLst>
    <p:handoutMasterId r:id="rId17"/>
  </p:handoutMasterIdLst>
  <p:sldIdLst>
    <p:sldId id="6651" r:id="rId11"/>
    <p:sldId id="6786" r:id="rId12"/>
    <p:sldId id="6787" r:id="rId13"/>
    <p:sldId id="6788" r:id="rId14"/>
    <p:sldId id="6633" r:id="rId15"/>
  </p:sldIdLst>
  <p:sldSz cx="9144000" cy="6858000" type="screen4x3"/>
  <p:notesSz cx="6797675" cy="9926638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2.1. L’application MaaS IDFM" id="{D3723C80-CEFA-4A7F-889D-E18FCBC60506}">
          <p14:sldIdLst>
            <p14:sldId id="6651"/>
            <p14:sldId id="6786"/>
            <p14:sldId id="6787"/>
            <p14:sldId id="6788"/>
            <p14:sldId id="663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pos="28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7DBC819-89EF-225F-F396-21159B1D0289}" name="MALALEL Maxime" initials="MM" userId="S::Maxime.MALALEL@eurogroupconsulting.com::175fdadd-7b49-48b8-abdb-e0e3ec45ff83" providerId="AD"/>
  <p188:author id="{E2C5E46C-A4FB-5BA0-56AA-2B45800712CA}" name="Berangere DECROS" initials="BD" userId="S::berangere.decros@iledefrance-mobilites.fr::3c2bc120-44a1-43bf-9b20-eb3dd9ee30ca" providerId="AD"/>
  <p188:author id="{3C4DD070-93AC-B3FA-0E19-4815FAE6D856}" name="VIDAL Lise" initials="VL" userId="S::Lise.VIDAL@eurogroupconsulting.com::7a1dc547-8bfc-4068-b04c-95bc3ba8fd03" providerId="AD"/>
  <p188:author id="{0541F279-A5F0-A4BD-3D37-F33866EC7753}" name="GOUESSE Cécile" initials="GC" userId="S::cecile.gouesse@eurogroupconsulting.com::070a07b6-eafe-4c8a-825d-c257fd978fe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line GILLETTE" initials="AG" lastIdx="6" clrIdx="6">
    <p:extLst>
      <p:ext uri="{19B8F6BF-5375-455C-9EA6-DF929625EA0E}">
        <p15:presenceInfo xmlns:p15="http://schemas.microsoft.com/office/powerpoint/2012/main" userId="S::aline.gillette@iledefrancemobilites.onmicrosoft.com::ab7fd79b-4bc4-413c-8b2e-1a1fb50eb11a" providerId="AD"/>
      </p:ext>
    </p:extLst>
  </p:cmAuthor>
  <p:cmAuthor id="1" name="Olivier VACHERET" initials="OV" lastIdx="26" clrIdx="0">
    <p:extLst>
      <p:ext uri="{19B8F6BF-5375-455C-9EA6-DF929625EA0E}">
        <p15:presenceInfo xmlns:p15="http://schemas.microsoft.com/office/powerpoint/2012/main" userId="S-1-5-21-299809550-2047393301-474883267-1300" providerId="AD"/>
      </p:ext>
    </p:extLst>
  </p:cmAuthor>
  <p:cmAuthor id="8" name="vincent.szaleniec@iledefrance-mobilites.fr" initials="v" lastIdx="1" clrIdx="7">
    <p:extLst>
      <p:ext uri="{19B8F6BF-5375-455C-9EA6-DF929625EA0E}">
        <p15:presenceInfo xmlns:p15="http://schemas.microsoft.com/office/powerpoint/2012/main" userId="S::vincent.szaleniec@iledefrance-mobilites.fr::a0aa64e1-c3b0-4370-99be-9ddb0105fc44" providerId="AD"/>
      </p:ext>
    </p:extLst>
  </p:cmAuthor>
  <p:cmAuthor id="2" name="Hala El Ouazzani" initials="HEO" lastIdx="4" clrIdx="1">
    <p:extLst>
      <p:ext uri="{19B8F6BF-5375-455C-9EA6-DF929625EA0E}">
        <p15:presenceInfo xmlns:p15="http://schemas.microsoft.com/office/powerpoint/2012/main" userId="S::hala.elouazzani@vertone.com::910a550e-165c-4126-bfbf-a8c744538a75" providerId="AD"/>
      </p:ext>
    </p:extLst>
  </p:cmAuthor>
  <p:cmAuthor id="9" name="Berangere DECROS" initials="BD" lastIdx="4" clrIdx="8">
    <p:extLst>
      <p:ext uri="{19B8F6BF-5375-455C-9EA6-DF929625EA0E}">
        <p15:presenceInfo xmlns:p15="http://schemas.microsoft.com/office/powerpoint/2012/main" userId="S::berangere.decros@iledefrancemobilites.onmicrosoft.com::e1df3303-e42f-4889-89c6-2a063b3b755e" providerId="AD"/>
      </p:ext>
    </p:extLst>
  </p:cmAuthor>
  <p:cmAuthor id="3" name="Minh Nguyen-Dac" initials="MN" lastIdx="3" clrIdx="2">
    <p:extLst>
      <p:ext uri="{19B8F6BF-5375-455C-9EA6-DF929625EA0E}">
        <p15:presenceInfo xmlns:p15="http://schemas.microsoft.com/office/powerpoint/2012/main" userId="S-1-5-21-2141255292-1007316908-2278673539-2305" providerId="AD"/>
      </p:ext>
    </p:extLst>
  </p:cmAuthor>
  <p:cmAuthor id="10" name="VIDAL Lise" initials="VL" lastIdx="6" clrIdx="9">
    <p:extLst>
      <p:ext uri="{19B8F6BF-5375-455C-9EA6-DF929625EA0E}">
        <p15:presenceInfo xmlns:p15="http://schemas.microsoft.com/office/powerpoint/2012/main" userId="S::Lise.VIDAL@eurogroupconsulting.com::7a1dc547-8bfc-4068-b04c-95bc3ba8fd03" providerId="AD"/>
      </p:ext>
    </p:extLst>
  </p:cmAuthor>
  <p:cmAuthor id="4" name="Olivier VACHERET" initials="OV [2]" lastIdx="7" clrIdx="3">
    <p:extLst>
      <p:ext uri="{19B8F6BF-5375-455C-9EA6-DF929625EA0E}">
        <p15:presenceInfo xmlns:p15="http://schemas.microsoft.com/office/powerpoint/2012/main" userId="Olivier VACHERET" providerId="None"/>
      </p:ext>
    </p:extLst>
  </p:cmAuthor>
  <p:cmAuthor id="11" name="Cécile" initials="C" lastIdx="16" clrIdx="10">
    <p:extLst>
      <p:ext uri="{19B8F6BF-5375-455C-9EA6-DF929625EA0E}">
        <p15:presenceInfo xmlns:p15="http://schemas.microsoft.com/office/powerpoint/2012/main" userId="S::Cecile.GOUESSE@eurogroupconsulting.com::070a07b6-eafe-4c8a-825d-c257fd978fe1" providerId="AD"/>
      </p:ext>
    </p:extLst>
  </p:cmAuthor>
  <p:cmAuthor id="5" name="Olivier VACHERET" initials="OV [3]" lastIdx="2" clrIdx="4">
    <p:extLst>
      <p:ext uri="{19B8F6BF-5375-455C-9EA6-DF929625EA0E}">
        <p15:presenceInfo xmlns:p15="http://schemas.microsoft.com/office/powerpoint/2012/main" userId="S::olivier.vacheret@iledefrancemobilites.onmicrosoft.com::bad02faf-f185-4ab9-bc6b-abe2bf07f029" providerId="AD"/>
      </p:ext>
    </p:extLst>
  </p:cmAuthor>
  <p:cmAuthor id="12" name="MALALEL Maxime" initials="MM" lastIdx="3" clrIdx="11">
    <p:extLst>
      <p:ext uri="{19B8F6BF-5375-455C-9EA6-DF929625EA0E}">
        <p15:presenceInfo xmlns:p15="http://schemas.microsoft.com/office/powerpoint/2012/main" userId="S::Maxime.MALALEL@eurogroupconsulting.com::175fdadd-7b49-48b8-abdb-e0e3ec45ff83" providerId="AD"/>
      </p:ext>
    </p:extLst>
  </p:cmAuthor>
  <p:cmAuthor id="6" name="Aude LEAUSTIC" initials="AL" lastIdx="1" clrIdx="5">
    <p:extLst>
      <p:ext uri="{19B8F6BF-5375-455C-9EA6-DF929625EA0E}">
        <p15:presenceInfo xmlns:p15="http://schemas.microsoft.com/office/powerpoint/2012/main" userId="S::aude.leaustic@vertone.com::ca75adb5-8d7f-4106-a161-c53d247ec6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E7F0F8"/>
    <a:srgbClr val="006592"/>
    <a:srgbClr val="4472C4"/>
    <a:srgbClr val="B6E8AE"/>
    <a:srgbClr val="FFEDB3"/>
    <a:srgbClr val="65B5E7"/>
    <a:srgbClr val="65B5E8"/>
    <a:srgbClr val="DEEBF7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Style léger 1 - Accentuation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27" autoAdjust="0"/>
    <p:restoredTop sz="94920" autoAdjust="0"/>
  </p:normalViewPr>
  <p:slideViewPr>
    <p:cSldViewPr snapToGrid="0">
      <p:cViewPr>
        <p:scale>
          <a:sx n="63" d="100"/>
          <a:sy n="63" d="100"/>
        </p:scale>
        <p:origin x="2290" y="446"/>
      </p:cViewPr>
      <p:guideLst>
        <p:guide orient="horz" pos="3793"/>
        <p:guide pos="28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99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75B90935-1E79-4367-9322-4907AA24BE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fr-FR">
              <a:latin typeface="Calibri" panose="020F0502020204030204" pitchFamily="34" charset="0"/>
            </a:endParaRP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BE4608CF-0E14-4414-973A-AAD97C7912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CC3A47EE-F10A-4D4B-83E3-BFDEDEDC5DA0}" type="datetimeFigureOut">
              <a:rPr lang="fr-FR" smtClean="0">
                <a:latin typeface="Calibri" panose="020F0502020204030204" pitchFamily="34" charset="0"/>
              </a:rPr>
              <a:t>09/11/2022</a:t>
            </a:fld>
            <a:endParaRPr lang="fr-FR">
              <a:latin typeface="Calibri" panose="020F0502020204030204" pitchFamily="34" charset="0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D31D8ADA-7F9C-4D5C-8863-A74899773F2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fr-FR">
              <a:latin typeface="Calibri" panose="020F0502020204030204" pitchFamily="34" charset="0"/>
            </a:endParaRP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5C531A6-B001-46EB-803F-99BBA052195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5EFCA5D8-5DA2-47AA-B450-CBED2BE1E0FC}" type="slidenum">
              <a:rPr lang="fr-FR" smtClean="0">
                <a:latin typeface="Calibri" panose="020F0502020204030204" pitchFamily="34" charset="0"/>
              </a:rPr>
              <a:t>‹N°›</a:t>
            </a:fld>
            <a:endParaRPr lang="fr-FR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46836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29E706B5-0A61-423D-A703-6ABFC263A080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3" tIns="45717" rIns="91433" bIns="45717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A4569CD6-272F-48AE-BC33-1D4205196C10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21679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2" name="Google Shape;52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388786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g105ad5b0dec_5_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1" name="Google Shape;201;g105ad5b0dec_5_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01345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.bin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4" Type="http://schemas.openxmlformats.org/officeDocument/2006/relationships/image" Target="../media/image21.gif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21.gif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21.gif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.bin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4" Type="http://schemas.openxmlformats.org/officeDocument/2006/relationships/image" Target="../media/image21.gif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4" Type="http://schemas.openxmlformats.org/officeDocument/2006/relationships/image" Target="../media/image21.gif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.bin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Relationship Id="rId4" Type="http://schemas.openxmlformats.org/officeDocument/2006/relationships/image" Target="../media/image21.gif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.xml"/><Relationship Id="rId4" Type="http://schemas.openxmlformats.org/officeDocument/2006/relationships/image" Target="../media/image21.gif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1.xml"/><Relationship Id="rId4" Type="http://schemas.openxmlformats.org/officeDocument/2006/relationships/image" Target="../media/image21.gi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11157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8228879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E00F004F-2D04-7B4A-A582-B676C48B1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B77093A-8FD9-C743-8AB9-68B77F906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8"/>
            <a:ext cx="7772400" cy="425450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013356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52424"/>
            <a:ext cx="7772400" cy="4627563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ADDB5E15-B132-604E-A96C-467AD56986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93022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52424"/>
            <a:ext cx="77724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55" indent="-171455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42909" indent="-171455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63" indent="-171455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816" indent="-171455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18470461-A83A-E840-9104-A76AC7AEE9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60648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15576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52424"/>
            <a:ext cx="381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52424"/>
            <a:ext cx="381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11585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B7B9635-D6E8-6542-8038-741450A4A3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64119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065312"/>
            <a:ext cx="3811588" cy="46166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1560285"/>
            <a:ext cx="3811588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65312"/>
            <a:ext cx="3813174" cy="46166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560285"/>
            <a:ext cx="3813174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D6DDDB84-1992-F648-B664-E15D6D7A61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F39B69A-DF0C-C74B-AECB-8C84FDD6DF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46037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437258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83F19B5F-D435-1149-B342-0F2F0C45FA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620EA93-C2A2-7F47-A352-980A54D240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35242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379656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54348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9DE56FB2-AE45-264D-BFD7-170416578D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5064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00BEF6B9-7CF7-AD4D-9BD8-DD59844438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4F20D2C-2F58-8341-84A1-6C9C6F946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54348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654CB0F-3CD9-4441-AAA2-6FDC10CAA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78321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3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6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7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3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6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7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264329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30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9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7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5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30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9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7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5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2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30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9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7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5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452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351277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3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6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3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6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7607808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086247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3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6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3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6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0382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6670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482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6294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66B491E-8DB3-F043-AE38-6C1B8D9A25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65619C-6DC0-E340-8E4D-22F8BC9E96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71012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961888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55499977-E8EC-4744-97B7-18E10E4D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A3BACF1-BB88-5B4A-85B4-E6BA0E7023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6641866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961888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6025935A-C352-B34F-8B46-598C300E4B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818EA5D-75AA-DE4E-AE56-1C4B23543A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267208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0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3A56DBC1-759F-7441-9298-3445D016AE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007D57B-268D-5C4C-AB39-804902E6BD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009828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0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CF4CDE3-2F4A-FF48-9887-9A9C3DFF9E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D311C3-8CB6-3D4D-9C94-B2893CDD47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4254450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9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8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5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FA31A7D9-010F-474B-9516-467EE97D83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5DA64B4-19D6-4940-8229-DA7356FDE0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8681436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9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8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5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0CA93C7B-3531-4149-9503-30719B4B4A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7319F52-594E-E44B-9500-FA84984DD2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8007708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AAB8E42C-CA33-D44A-9946-4EFC2F8B41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5329BAE-3C57-B340-B862-946356B54B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7482253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F19EB1A3-0042-CA45-B582-129198E993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9151B5C-00AA-CC48-90DA-C2DE47117A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769328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5" y="1580160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5" y="3043942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DBCEC4C-F410-471F-A473-D3540B39A541}"/>
              </a:ext>
            </a:extLst>
          </p:cNvPr>
          <p:cNvSpPr txBox="1"/>
          <p:nvPr userDrawn="1"/>
        </p:nvSpPr>
        <p:spPr>
          <a:xfrm>
            <a:off x="972738" y="795330"/>
            <a:ext cx="15587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6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32262287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694989D7-F531-FE4F-B946-5BAD301BC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7634E98-0CB2-0A48-8FD4-40F397C3E3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8444403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9" y="4717011"/>
            <a:ext cx="1831086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8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5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4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7" name="Graphique 16">
            <a:extLst>
              <a:ext uri="{FF2B5EF4-FFF2-40B4-BE49-F238E27FC236}">
                <a16:creationId xmlns:a16="http://schemas.microsoft.com/office/drawing/2014/main" id="{BB8D2062-AD3C-7D46-9953-DE503CF47A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21D69C5-DBA6-BF41-846B-6718080B6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3462769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9" y="4717011"/>
            <a:ext cx="1831086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8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5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4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2A89A3B3-ED9F-B340-BD5B-E9699F9477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3666FBF-6FAF-6F4B-8B30-7C54522AFC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8334267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85800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961888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EEF6BB38-D89A-7C40-A577-40E43FEA08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D3CBC66-E198-B141-B0B1-B0DA21282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3401892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6946" y="1397000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3" y="1397000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704409"/>
            <a:ext cx="3813048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704409"/>
            <a:ext cx="3813048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86946" y="3060985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3" y="3060985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363588A7-351F-574F-A1B3-D5C433ED74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268BEFF-37F5-AB4C-A016-F42BED05B4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63288999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4361217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4361217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4361217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4361217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88C2DAF-626B-364D-9098-A1709749D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629AE43-B5E4-9043-A3FA-0F7EBEBE16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6895666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4822882"/>
            <a:ext cx="2496312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4822882"/>
            <a:ext cx="2496312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4822882"/>
            <a:ext cx="2496312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A4036CC-97E5-B849-A2A9-7CCF91196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D165CD7-863A-0B4F-9531-94699F2D1A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608100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6999"/>
            <a:ext cx="381419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6999"/>
            <a:ext cx="381419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4822883"/>
            <a:ext cx="3813048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4822883"/>
            <a:ext cx="3813048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7C6BE1A-D729-5042-B853-CB90AED790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9565308-AC5C-3142-83A2-E89792A03F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5387800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2739174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2739174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2739174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2739174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4212305"/>
            <a:ext cx="1831086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666239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646678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627115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F0F881DA-A7CC-BD41-A84F-BF7A9D51CF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4A0912B-C107-C44E-ACD7-611AF7E62D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3661110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2739174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2739174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2739174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2739174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4212305"/>
            <a:ext cx="1831086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666239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646678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627115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9440E4D-4DA5-4D4E-8661-8390073C06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339AC01-3C2B-3A4D-9F46-7F093BFE49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685259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8" y="795330"/>
            <a:ext cx="15587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6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5" y="1580160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5" y="3043942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325576118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39"/>
            <a:ext cx="2496312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3200839"/>
            <a:ext cx="2496312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3200839"/>
            <a:ext cx="2496312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795E97A-C56F-C049-B2AC-3775503493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6EB6E31-FB91-9041-B8C1-6FC719D3DC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8661610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pic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42"/>
            <a:ext cx="3813048" cy="840230"/>
          </a:xfrm>
          <a:solidFill>
            <a:srgbClr val="3681C7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3200842"/>
            <a:ext cx="3813048" cy="840230"/>
          </a:xfrm>
          <a:solidFill>
            <a:srgbClr val="15A3E9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2F5563A4-00DA-0A4A-9191-3B7C3C63C6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0D37E20-FC27-B249-B0F0-0453E036D0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8619471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pic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42"/>
            <a:ext cx="3813048" cy="840230"/>
          </a:xfrm>
          <a:solidFill>
            <a:srgbClr val="2C68A0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3200842"/>
            <a:ext cx="3813048" cy="840230"/>
          </a:xfrm>
          <a:solidFill>
            <a:srgbClr val="1C476C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EBBA0772-2351-A74B-BDE0-3FF4260101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A74A77-8429-6948-B720-9EB3CE4A81C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3942337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8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2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409681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5590922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7772165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8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2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3409681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5590922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7772165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8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2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3409681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5590922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7772165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50" name="Graphique 49">
            <a:extLst>
              <a:ext uri="{FF2B5EF4-FFF2-40B4-BE49-F238E27FC236}">
                <a16:creationId xmlns:a16="http://schemas.microsoft.com/office/drawing/2014/main" id="{D058E5D0-D554-E74A-87ED-C98A24C4D4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612EA65-720A-4949-A1AF-2F2E8F0D69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4171333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9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9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6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6" y="1639789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3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9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6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6" y="315354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3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9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069976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6" y="4667304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6911513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7312B073-661F-FB4E-AF0D-6080D8E7A9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0864F43-5915-E549-8CCF-3116EF2F18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138839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9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6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6" y="1639789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3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88657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9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388657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6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6" y="3886576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3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654AAC40-CD50-F84E-85F5-562C212445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988FE156-5781-9142-82F5-0A123F5397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3246111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rect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1" y="1639790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721530" y="1639792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3" y="1639790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002677" y="1639792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1" y="3886577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721530" y="3886579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3" y="3886577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6002677" y="3886579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BC51E826-0E67-C244-9010-FD4209835C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5020CB4-0DAD-0A44-8D83-1434A8B5ADF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895704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3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3554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73170" y="1988840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1543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11874" y="1988840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270246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50575" y="1988839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108949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AAA5E498-2F5F-D245-888E-6ABB881D0E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58C416B-B627-0442-8DAC-E45FFAD75D1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0528321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8474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6202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39441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019098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2642337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5121995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745234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685800" y="77945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4893" y="1952836"/>
            <a:ext cx="1049445" cy="10862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6848130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EE6D15DB-1BDB-3A46-AC60-80C3313397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37149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prof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2" y="1268759"/>
            <a:ext cx="1764195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93479" y="1268759"/>
            <a:ext cx="1764195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600781" y="1268759"/>
            <a:ext cx="1859858" cy="3535680"/>
          </a:xfrm>
        </p:spPr>
        <p:txBody>
          <a:bodyPr>
            <a:noAutofit/>
          </a:bodyPr>
          <a:lstStyle>
            <a:lvl1pPr marL="0" indent="0">
              <a:buNone/>
              <a:defRPr sz="1050" b="0" i="0">
                <a:solidFill>
                  <a:schemeClr val="accent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050"/>
            </a:lvl2pPr>
            <a:lvl3pPr marL="113116" indent="-113116">
              <a:defRPr sz="1050"/>
            </a:lvl3pPr>
            <a:lvl4pPr marL="301244" indent="-155980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598342" y="1268759"/>
            <a:ext cx="1859858" cy="3535680"/>
          </a:xfrm>
        </p:spPr>
        <p:txBody>
          <a:bodyPr>
            <a:noAutofit/>
          </a:bodyPr>
          <a:lstStyle>
            <a:lvl1pPr marL="0" indent="0">
              <a:buNone/>
              <a:defRPr sz="1050" b="0" i="0">
                <a:solidFill>
                  <a:schemeClr val="accent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050"/>
            </a:lvl2pPr>
            <a:lvl3pPr marL="113116" indent="-113116">
              <a:defRPr sz="1050"/>
            </a:lvl3pPr>
            <a:lvl4pPr marL="301244" indent="-155980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85802" y="4980569"/>
            <a:ext cx="377483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93479" y="4980569"/>
            <a:ext cx="376472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73421630-C055-AD46-807F-7527B40694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22C3340-8B3F-F94F-B841-3DB7533A7F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6425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B04862A-A275-4962-837D-438AAAF79A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8" y="795330"/>
            <a:ext cx="15587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6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3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5" y="1580160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5" y="3043942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15628598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37F238E-2272-B64B-BE86-BB5802AF8B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Sommair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F416AABB-F4D5-EC4A-8BD3-2A7729B153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9C8710B-904F-4845-9965-3985248304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0924" y="1329208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Votre contexte et nos convictions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D874D45C-B5C6-484B-8C84-1985BBCDCC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10924" y="1967246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Notre compréhension de votre besoi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5EB03AE5-F532-EC46-BF40-2B70614D0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96517" y="1339496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2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93C4BEEA-D7CC-3346-8BCC-97EB4B3569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96517" y="1960906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12</a:t>
            </a:r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6C80F3FE-B847-ED4D-A8B0-A1799236F8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0924" y="2605284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Nos atouts pour vous accompagner</a:t>
            </a: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1BB615FC-68E1-5444-89A7-64B95A8D12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0924" y="3243322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tre approche</a:t>
            </a:r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37461C81-B2B0-2148-B4F9-C8D26805CF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0924" y="3881360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tre équip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6A2140F-399F-1943-8460-73DB4C94C4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10924" y="4519398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s références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33C7D74F-B68B-864F-B70E-246FFEFBD3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0924" y="5157440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Annexes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62BD1F17-F44D-4B40-A93E-0DAF56410E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96517" y="2605284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14</a:t>
            </a: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88FC0D92-FB17-8A42-ACD5-A4CB7EB6E4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6517" y="3243322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34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499DF0D9-4EEF-4541-A78A-754598DB6F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96517" y="3881360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41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1C46BE9-5EB8-FA4A-9D6C-F0038E1124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96517" y="4519398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48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8BFB148-9381-7147-A784-780A5F0AE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96517" y="5156671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50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0885B62-4F40-5A4F-9C7F-2C55A690D3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0804986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id="{D561C17F-D64D-114D-BC58-98CF72A78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9705" y="1622789"/>
            <a:ext cx="3452214" cy="2892343"/>
          </a:xfrm>
        </p:spPr>
        <p:txBody>
          <a:bodyPr>
            <a:normAutofit/>
          </a:bodyPr>
          <a:lstStyle>
            <a:lvl1pPr marL="0" indent="0" algn="l">
              <a:buNone/>
              <a:defRPr sz="923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Nunc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fr-FR" sz="831" b="0" i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Espace réservé du texte 16">
            <a:extLst>
              <a:ext uri="{FF2B5EF4-FFF2-40B4-BE49-F238E27FC236}">
                <a16:creationId xmlns:a16="http://schemas.microsoft.com/office/drawing/2014/main" id="{B7180C5D-135F-DE49-867C-FCEA74E7FF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88551" y="1622789"/>
            <a:ext cx="3469650" cy="2892343"/>
          </a:xfrm>
        </p:spPr>
        <p:txBody>
          <a:bodyPr>
            <a:normAutofit/>
          </a:bodyPr>
          <a:lstStyle>
            <a:lvl1pPr marL="0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Nunc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fr-FR" sz="831" b="0" i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Espace réservé du texte 20">
            <a:extLst>
              <a:ext uri="{FF2B5EF4-FFF2-40B4-BE49-F238E27FC236}">
                <a16:creationId xmlns:a16="http://schemas.microsoft.com/office/drawing/2014/main" id="{4ECCDA16-844E-8745-8D37-6665F155DD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9705" y="1203837"/>
            <a:ext cx="3452214" cy="316950"/>
          </a:xfrm>
        </p:spPr>
        <p:txBody>
          <a:bodyPr>
            <a:noAutofit/>
          </a:bodyPr>
          <a:lstStyle>
            <a:lvl1pPr marL="0" indent="0">
              <a:buNone/>
              <a:defRPr sz="1108" b="0" i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AMET, CONSECTETUR ADIPISCING ELIT. MORBI VITAE AUGUE FERMENTUM</a:t>
            </a:r>
          </a:p>
        </p:txBody>
      </p:sp>
      <p:sp>
        <p:nvSpPr>
          <p:cNvPr id="18" name="Espace réservé du texte 20">
            <a:extLst>
              <a:ext uri="{FF2B5EF4-FFF2-40B4-BE49-F238E27FC236}">
                <a16:creationId xmlns:a16="http://schemas.microsoft.com/office/drawing/2014/main" id="{909D0FBB-486C-5642-805D-EE519DBE0C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8550" y="1203837"/>
            <a:ext cx="3452214" cy="316950"/>
          </a:xfrm>
        </p:spPr>
        <p:txBody>
          <a:bodyPr>
            <a:noAutofit/>
          </a:bodyPr>
          <a:lstStyle>
            <a:lvl1pPr marL="0" indent="0">
              <a:buNone/>
              <a:defRPr sz="1108" b="0" i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AMET, CONSECTETUR ADIPISCING ELIT. MORBI VITAE AUGUE FERMENTUM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DDD2C8DC-3776-DD45-8F8A-39D71644FE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800" y="4689476"/>
            <a:ext cx="3446585" cy="251693"/>
          </a:xfrm>
        </p:spPr>
        <p:txBody>
          <a:bodyPr>
            <a:normAutofit/>
          </a:bodyPr>
          <a:lstStyle>
            <a:lvl1pPr marL="0" indent="0" algn="l">
              <a:buNone/>
              <a:defRPr sz="923"/>
            </a:lvl1pPr>
            <a:lvl2pPr marL="171454" indent="0" algn="l">
              <a:buNone/>
              <a:defRPr/>
            </a:lvl2pPr>
            <a:lvl3pPr marL="344496" indent="0" algn="l">
              <a:buNone/>
              <a:defRPr/>
            </a:lvl3pPr>
            <a:lvl4pPr marL="515949" indent="0" algn="l">
              <a:buNone/>
              <a:defRPr/>
            </a:lvl4pPr>
            <a:lvl5pPr marL="687405" indent="0" algn="l">
              <a:buNone/>
              <a:defRPr/>
            </a:lvl5pPr>
          </a:lstStyle>
          <a:p>
            <a:pPr lvl="0"/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dum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dale</a:t>
            </a:r>
            <a:endParaRPr kumimoji="0" lang="en-US" sz="831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Espace réservé du texte 19">
            <a:extLst>
              <a:ext uri="{FF2B5EF4-FFF2-40B4-BE49-F238E27FC236}">
                <a16:creationId xmlns:a16="http://schemas.microsoft.com/office/drawing/2014/main" id="{030BA8CF-0947-3A4E-8884-1F6CEC977A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94645" y="4689476"/>
            <a:ext cx="3446585" cy="251693"/>
          </a:xfrm>
        </p:spPr>
        <p:txBody>
          <a:bodyPr>
            <a:normAutofit/>
          </a:bodyPr>
          <a:lstStyle>
            <a:lvl1pPr marL="0" indent="0" algn="l">
              <a:buNone/>
              <a:defRPr sz="923"/>
            </a:lvl1pPr>
            <a:lvl2pPr marL="171454" indent="0" algn="l">
              <a:buNone/>
              <a:defRPr/>
            </a:lvl2pPr>
            <a:lvl3pPr marL="344496" indent="0" algn="l">
              <a:buNone/>
              <a:defRPr/>
            </a:lvl3pPr>
            <a:lvl4pPr marL="515949" indent="0" algn="l">
              <a:buNone/>
              <a:defRPr/>
            </a:lvl4pPr>
            <a:lvl5pPr marL="687405" indent="0" algn="l">
              <a:buNone/>
              <a:defRPr/>
            </a:lvl5pPr>
          </a:lstStyle>
          <a:p>
            <a:pPr lvl="0"/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dum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dale</a:t>
            </a:r>
            <a:endParaRPr kumimoji="0" lang="en-US" sz="831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8F593E58-673D-1148-A3BB-0462D7155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16943"/>
            <a:ext cx="7772400" cy="340724"/>
          </a:xfrm>
        </p:spPr>
        <p:txBody>
          <a:bodyPr anchor="t"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endParaRPr lang="fr-FR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F562348-6639-094F-975D-DC1D19C48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0EFFCB1-6ED5-BB40-B1FE-61B71ED63A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976733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C8467E19-8FBC-2846-A58D-3265F5212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410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F482980A-F64E-EF40-B05C-78A6EDAC86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9865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D6B9960-A269-F14A-989C-A5B255FD27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05029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115A1495-E42C-DF46-990F-D0ADC21BE2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410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D30F3E7F-9CC4-EF42-90C1-4BB9B05ABE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9865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068EB0D8-3880-5E4E-A524-E07BDA667B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05029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9">
            <a:extLst>
              <a:ext uri="{FF2B5EF4-FFF2-40B4-BE49-F238E27FC236}">
                <a16:creationId xmlns:a16="http://schemas.microsoft.com/office/drawing/2014/main" id="{6DB02B1F-DA00-4F4A-95BF-91EF515530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5164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1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BDA18899-EFD1-FF48-A3B7-8FE5811E0B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86717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2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DDF5498E-6E23-6849-8D8E-4D29F138D4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01879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DAF3E67-D170-F742-A095-7878D0AE9C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5164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4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6033A3A2-B688-F34A-985C-24CD9D7D11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86717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5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61405870-F208-BC4C-8EDE-89049CBC22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01879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6</a:t>
            </a: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F8A2ADC4-8B85-224C-A734-BEE3109D5C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16943"/>
            <a:ext cx="7772400" cy="340724"/>
          </a:xfrm>
        </p:spPr>
        <p:txBody>
          <a:bodyPr anchor="ctr"/>
          <a:lstStyle>
            <a:lvl1pPr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fr-FR"/>
              <a:t>Atouts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171D64AC-1285-D043-939C-14FBB09DC9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A32DEDA-6678-8045-BC0F-1BC7CBE609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0883387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51972"/>
            <a:ext cx="7772400" cy="628756"/>
          </a:xfrm>
        </p:spPr>
        <p:txBody>
          <a:bodyPr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r>
              <a:rPr lang="fr-FR"/>
              <a:t> </a:t>
            </a:r>
            <a:r>
              <a:rPr lang="fr-FR" err="1"/>
              <a:t>hastisque</a:t>
            </a:r>
            <a:r>
              <a:rPr lang="fr-FR"/>
              <a:t> </a:t>
            </a:r>
            <a:r>
              <a:rPr lang="fr-FR" err="1"/>
              <a:t>feriens</a:t>
            </a:r>
            <a:r>
              <a:rPr lang="fr-FR"/>
              <a:t> scuta qui habitus </a:t>
            </a:r>
            <a:r>
              <a:rPr lang="fr-FR" err="1"/>
              <a:t>iram</a:t>
            </a:r>
            <a:r>
              <a:rPr lang="fr-FR"/>
              <a:t> </a:t>
            </a:r>
            <a:r>
              <a:rPr lang="fr-FR" err="1"/>
              <a:t>pugnantium</a:t>
            </a:r>
            <a:r>
              <a:rPr lang="fr-FR"/>
              <a:t> </a:t>
            </a:r>
            <a:r>
              <a:rPr lang="fr-FR" err="1"/>
              <a:t>concitat</a:t>
            </a:r>
            <a:endParaRPr lang="fr-FR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BE6FF84-B617-E844-A665-802CB0BAA502}"/>
              </a:ext>
            </a:extLst>
          </p:cNvPr>
          <p:cNvSpPr txBox="1">
            <a:spLocks/>
          </p:cNvSpPr>
          <p:nvPr/>
        </p:nvSpPr>
        <p:spPr>
          <a:xfrm>
            <a:off x="499525" y="1520788"/>
            <a:ext cx="996923" cy="108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1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6D5411-8278-F64F-AA41-84F0085ACF3C}"/>
              </a:ext>
            </a:extLst>
          </p:cNvPr>
          <p:cNvSpPr txBox="1">
            <a:spLocks/>
          </p:cNvSpPr>
          <p:nvPr/>
        </p:nvSpPr>
        <p:spPr>
          <a:xfrm>
            <a:off x="1952315" y="1520788"/>
            <a:ext cx="996923" cy="1080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2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A94810E-A474-BD49-9067-F2AB653D88A2}"/>
              </a:ext>
            </a:extLst>
          </p:cNvPr>
          <p:cNvSpPr txBox="1">
            <a:spLocks/>
          </p:cNvSpPr>
          <p:nvPr/>
        </p:nvSpPr>
        <p:spPr>
          <a:xfrm>
            <a:off x="3375559" y="1520788"/>
            <a:ext cx="996923" cy="1080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3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37D1E30-4E08-8545-A624-D93B2135F95B}"/>
              </a:ext>
            </a:extLst>
          </p:cNvPr>
          <p:cNvSpPr txBox="1">
            <a:spLocks/>
          </p:cNvSpPr>
          <p:nvPr/>
        </p:nvSpPr>
        <p:spPr>
          <a:xfrm>
            <a:off x="4798804" y="1520788"/>
            <a:ext cx="996923" cy="10800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4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181B2A05-904A-FC4A-BA0A-83CA23EE5164}"/>
              </a:ext>
            </a:extLst>
          </p:cNvPr>
          <p:cNvSpPr txBox="1">
            <a:spLocks/>
          </p:cNvSpPr>
          <p:nvPr/>
        </p:nvSpPr>
        <p:spPr>
          <a:xfrm>
            <a:off x="6222048" y="1520788"/>
            <a:ext cx="996923" cy="1080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5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DC88F8A3-273F-CB4C-AF48-54804BE7C37A}"/>
              </a:ext>
            </a:extLst>
          </p:cNvPr>
          <p:cNvSpPr txBox="1">
            <a:spLocks/>
          </p:cNvSpPr>
          <p:nvPr/>
        </p:nvSpPr>
        <p:spPr>
          <a:xfrm>
            <a:off x="7645294" y="1520788"/>
            <a:ext cx="996923" cy="108000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r>
              <a:rPr lang="fr-FR" sz="3231" b="0" i="0">
                <a:latin typeface="Segoe UI Light" panose="020B0502040204020203" pitchFamily="34" charset="0"/>
              </a:rPr>
              <a:t>6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5B872118-8F18-8B44-BDD6-4D6400B4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45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7CF5C18-1E95-C243-B7C5-426CDD91A3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676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BC76D2F1-C74C-EF4B-9B5B-7D1F8910A3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9420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5D1C027F-D3CE-1444-A4AF-8739131D3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6075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89B41A96-1EB0-A843-B5A7-A41BEAF80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65156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E74B7E68-2061-E14E-AE23-DDBD7DD33D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9423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00AEB744-AD2A-8348-9DE7-6376E2D901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93211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locs 3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>
            <a:extLst>
              <a:ext uri="{FF2B5EF4-FFF2-40B4-BE49-F238E27FC236}">
                <a16:creationId xmlns:a16="http://schemas.microsoft.com/office/drawing/2014/main" id="{6195ED57-034D-804E-8062-A1BB1B4357BD}"/>
              </a:ext>
            </a:extLst>
          </p:cNvPr>
          <p:cNvSpPr/>
          <p:nvPr/>
        </p:nvSpPr>
        <p:spPr>
          <a:xfrm>
            <a:off x="251521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D96AC5-ACB1-5343-B150-97A7A65B8C7F}"/>
              </a:ext>
            </a:extLst>
          </p:cNvPr>
          <p:cNvSpPr/>
          <p:nvPr/>
        </p:nvSpPr>
        <p:spPr>
          <a:xfrm>
            <a:off x="3008002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BC82BB8-C31D-474E-9BC2-CCA7CC3CA0EB}"/>
              </a:ext>
            </a:extLst>
          </p:cNvPr>
          <p:cNvSpPr/>
          <p:nvPr/>
        </p:nvSpPr>
        <p:spPr>
          <a:xfrm>
            <a:off x="5734969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1577CC0-21BC-EE47-9EE3-83D8837E2868}"/>
              </a:ext>
            </a:extLst>
          </p:cNvPr>
          <p:cNvSpPr/>
          <p:nvPr/>
        </p:nvSpPr>
        <p:spPr>
          <a:xfrm>
            <a:off x="251521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56DAB77-BE19-DC49-8F90-4AFD6F720FD1}"/>
              </a:ext>
            </a:extLst>
          </p:cNvPr>
          <p:cNvSpPr/>
          <p:nvPr/>
        </p:nvSpPr>
        <p:spPr>
          <a:xfrm>
            <a:off x="3008002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0A3DDDF-952A-0846-B4D6-EE383794216A}"/>
              </a:ext>
            </a:extLst>
          </p:cNvPr>
          <p:cNvSpPr/>
          <p:nvPr/>
        </p:nvSpPr>
        <p:spPr>
          <a:xfrm>
            <a:off x="5734969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662C264B-5100-A94D-91E8-1B41B17087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741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2391E2D5-831D-CD45-8FC2-83B5250658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3585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1C4A0AF5-2632-5543-863D-5C22F7895F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5829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F61C2B9A-4D71-254E-BA77-756EC7FF9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741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A4C1D545-649F-504B-9FD2-4ED1D012B6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3585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BD27275D-5F22-AE45-ABD0-CED52D06BF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5829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798A602A-55CF-284D-A4C2-5D26F6293B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378" y="1483406"/>
            <a:ext cx="2071962" cy="207287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ULTANCY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0C7BF7F5-E80F-4948-B034-F8EE8DA906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0604" y="1483406"/>
            <a:ext cx="2071962" cy="207287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&amp; ACCOUNT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16334BA2-8B93-5247-A8F3-E9CDB36152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55829" y="1483405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PHIC DESIGN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4ACC63D6-B64C-D54B-89B7-105CF12845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5829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T MANAGEMENT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CB40137D-D7D7-AD47-B603-C1DC59629D5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30011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TIVATION</a:t>
            </a:r>
          </a:p>
        </p:txBody>
      </p:sp>
      <p:sp>
        <p:nvSpPr>
          <p:cNvPr id="44" name="Espace réservé du texte 9">
            <a:extLst>
              <a:ext uri="{FF2B5EF4-FFF2-40B4-BE49-F238E27FC236}">
                <a16:creationId xmlns:a16="http://schemas.microsoft.com/office/drawing/2014/main" id="{84CBD0E7-FF34-B643-B4AA-FC15740514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6565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C731E4-001F-6D46-A0CB-AA8854A446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273383CC-CD49-FA40-AF4F-ABE957922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31282"/>
            <a:ext cx="7772400" cy="361414"/>
          </a:xfrm>
        </p:spPr>
        <p:txBody>
          <a:bodyPr anchor="ctr"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endParaRPr lang="fr-FR"/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965860D0-F6A1-8540-BC28-FC2755C49B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862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locs 2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51972"/>
            <a:ext cx="7772400" cy="628756"/>
          </a:xfrm>
        </p:spPr>
        <p:txBody>
          <a:bodyPr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r>
              <a:rPr lang="fr-FR"/>
              <a:t> </a:t>
            </a:r>
            <a:r>
              <a:rPr lang="fr-FR" err="1"/>
              <a:t>hastisque</a:t>
            </a:r>
            <a:r>
              <a:rPr lang="fr-FR"/>
              <a:t> </a:t>
            </a:r>
            <a:r>
              <a:rPr lang="fr-FR" err="1"/>
              <a:t>feriens</a:t>
            </a:r>
            <a:r>
              <a:rPr lang="fr-FR"/>
              <a:t> scuta qui habitus </a:t>
            </a:r>
            <a:r>
              <a:rPr lang="fr-FR" err="1"/>
              <a:t>iram</a:t>
            </a:r>
            <a:r>
              <a:rPr lang="fr-FR"/>
              <a:t> </a:t>
            </a:r>
            <a:r>
              <a:rPr lang="fr-FR" err="1"/>
              <a:t>pugnantium</a:t>
            </a:r>
            <a:r>
              <a:rPr lang="fr-FR"/>
              <a:t> </a:t>
            </a:r>
            <a:r>
              <a:rPr lang="fr-FR" err="1"/>
              <a:t>concitat</a:t>
            </a:r>
            <a:endParaRPr lang="fr-FR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6195ED57-034D-804E-8062-A1BB1B4357BD}"/>
              </a:ext>
            </a:extLst>
          </p:cNvPr>
          <p:cNvSpPr/>
          <p:nvPr/>
        </p:nvSpPr>
        <p:spPr>
          <a:xfrm>
            <a:off x="251521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D96AC5-ACB1-5343-B150-97A7A65B8C7F}"/>
              </a:ext>
            </a:extLst>
          </p:cNvPr>
          <p:cNvSpPr/>
          <p:nvPr/>
        </p:nvSpPr>
        <p:spPr>
          <a:xfrm>
            <a:off x="251521" y="2971267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BC82BB8-C31D-474E-9BC2-CCA7CC3CA0EB}"/>
              </a:ext>
            </a:extLst>
          </p:cNvPr>
          <p:cNvSpPr/>
          <p:nvPr/>
        </p:nvSpPr>
        <p:spPr>
          <a:xfrm>
            <a:off x="251521" y="4612164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1577CC0-21BC-EE47-9EE3-83D8837E2868}"/>
              </a:ext>
            </a:extLst>
          </p:cNvPr>
          <p:cNvSpPr/>
          <p:nvPr/>
        </p:nvSpPr>
        <p:spPr>
          <a:xfrm>
            <a:off x="4442058" y="1440463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56DAB77-BE19-DC49-8F90-4AFD6F720FD1}"/>
              </a:ext>
            </a:extLst>
          </p:cNvPr>
          <p:cNvSpPr/>
          <p:nvPr/>
        </p:nvSpPr>
        <p:spPr>
          <a:xfrm>
            <a:off x="4460913" y="296154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0A3DDDF-952A-0846-B4D6-EE383794216A}"/>
              </a:ext>
            </a:extLst>
          </p:cNvPr>
          <p:cNvSpPr/>
          <p:nvPr/>
        </p:nvSpPr>
        <p:spPr>
          <a:xfrm>
            <a:off x="4471572" y="4582179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F96508CC-9CAC-D94E-9B76-8D5CE523DF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078" y="1772816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D26640EC-8478-AB44-8B36-EB897B24BD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2078" y="337528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526FAAA4-17CE-A74B-9425-722C76FBA9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2078" y="499546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07ECE29-D931-8C4F-B1AF-FCD697D883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02855" y="1772816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271788DF-4067-5A40-B8A1-212DED716F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2855" y="337528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9C62AD59-2B64-C442-90E1-4F567E08AF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2855" y="499546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92C4AE38-9F8E-F840-8BE0-745A1A3832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2078" y="1460692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ULTANCY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108E3404-2EC7-A742-B40F-411A1F7678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2078" y="3067704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&amp; ACCOUNT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3CF296E7-525E-A740-9DC8-D82CED1C5F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078" y="4690625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PHIC DESIGN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22EC26C0-3AAE-0E48-8708-E84A82F0849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02855" y="4690625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T MANAGEMENT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1A77401D-64E8-A543-A7AB-E78A144C5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02855" y="3067704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TIVATION</a:t>
            </a:r>
          </a:p>
        </p:txBody>
      </p:sp>
      <p:sp>
        <p:nvSpPr>
          <p:cNvPr id="44" name="Espace réservé du texte 9">
            <a:extLst>
              <a:ext uri="{FF2B5EF4-FFF2-40B4-BE49-F238E27FC236}">
                <a16:creationId xmlns:a16="http://schemas.microsoft.com/office/drawing/2014/main" id="{0A108E76-117B-A146-94BD-48A85E6D5B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02855" y="1460692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D7AD1DB6-CF0C-924E-8965-AB3215A4C2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56036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tre équ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799" y="362835"/>
            <a:ext cx="7772400" cy="314746"/>
          </a:xfrm>
        </p:spPr>
        <p:txBody>
          <a:bodyPr/>
          <a:lstStyle>
            <a:lvl1pPr>
              <a:defRPr b="0"/>
            </a:lvl1pPr>
          </a:lstStyle>
          <a:p>
            <a:r>
              <a:rPr lang="fr-FR"/>
              <a:t>Notre équipe d’intervenant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864FFDA6-8BB0-EB43-8EB5-B85B84EE95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2085" y="1716975"/>
            <a:ext cx="7276114" cy="69427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Cliquez pour modifier les styles du texte du masque</a:t>
            </a:r>
          </a:p>
          <a:p>
            <a:pPr lvl="1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Deuxième niveau</a:t>
            </a:r>
          </a:p>
          <a:p>
            <a:pPr lvl="2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Troisième niveau</a:t>
            </a:r>
          </a:p>
          <a:p>
            <a:pPr lvl="3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Quatrième niveau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21BCBE88-0FE3-344D-9CDA-610088F8504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4624" y="1241416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46326B1A-395B-9048-8ED9-7B709837D1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8554" y="3565241"/>
            <a:ext cx="7276114" cy="70972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Cliquez pour modifier les styles du texte du masque</a:t>
            </a:r>
          </a:p>
        </p:txBody>
      </p:sp>
      <p:sp>
        <p:nvSpPr>
          <p:cNvPr id="26" name="Espace réservé pour une image  5">
            <a:extLst>
              <a:ext uri="{FF2B5EF4-FFF2-40B4-BE49-F238E27FC236}">
                <a16:creationId xmlns:a16="http://schemas.microsoft.com/office/drawing/2014/main" id="{806FEEDE-992D-CE4D-918F-92CFB6F32B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4623" y="3104965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7" name="Espace réservé du texte 9">
            <a:extLst>
              <a:ext uri="{FF2B5EF4-FFF2-40B4-BE49-F238E27FC236}">
                <a16:creationId xmlns:a16="http://schemas.microsoft.com/office/drawing/2014/main" id="{D221A175-261D-E342-AA16-6A23C47FF2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623" y="2788056"/>
            <a:ext cx="8170046" cy="218006"/>
          </a:xfrm>
        </p:spPr>
        <p:txBody>
          <a:bodyPr>
            <a:normAutofit/>
          </a:bodyPr>
          <a:lstStyle>
            <a:lvl1pPr marL="0" indent="0" algn="ctr">
              <a:buNone/>
              <a:defRPr sz="1477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ÉQUIPE COEUR</a:t>
            </a:r>
          </a:p>
        </p:txBody>
      </p:sp>
      <p:sp>
        <p:nvSpPr>
          <p:cNvPr id="28" name="Espace réservé pour une image  5">
            <a:extLst>
              <a:ext uri="{FF2B5EF4-FFF2-40B4-BE49-F238E27FC236}">
                <a16:creationId xmlns:a16="http://schemas.microsoft.com/office/drawing/2014/main" id="{396EFCED-CC81-CC4C-81FA-7084ADC8EB0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51786" y="4921667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Espace réservé pour une image  5">
            <a:extLst>
              <a:ext uri="{FF2B5EF4-FFF2-40B4-BE49-F238E27FC236}">
                <a16:creationId xmlns:a16="http://schemas.microsoft.com/office/drawing/2014/main" id="{C738B4D2-D6C2-6F42-8AFC-4218B96C542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4127" y="4931905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0" name="Espace réservé pour une image  5">
            <a:extLst>
              <a:ext uri="{FF2B5EF4-FFF2-40B4-BE49-F238E27FC236}">
                <a16:creationId xmlns:a16="http://schemas.microsoft.com/office/drawing/2014/main" id="{CE6C50C2-FFB5-6A4E-98B3-A01811853E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55388" y="4848979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6" name="Espace réservé du texte 19">
            <a:extLst>
              <a:ext uri="{FF2B5EF4-FFF2-40B4-BE49-F238E27FC236}">
                <a16:creationId xmlns:a16="http://schemas.microsoft.com/office/drawing/2014/main" id="{5B188B30-C8D5-5643-AE09-6199F8EA8E7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82085" y="1241416"/>
            <a:ext cx="1280579" cy="252411"/>
          </a:xfrm>
        </p:spPr>
        <p:txBody>
          <a:bodyPr>
            <a:no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ASSOCIE: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Espace réservé du texte 19">
            <a:extLst>
              <a:ext uri="{FF2B5EF4-FFF2-40B4-BE49-F238E27FC236}">
                <a16:creationId xmlns:a16="http://schemas.microsoft.com/office/drawing/2014/main" id="{82F96A94-7781-134F-8987-FA7F0B1B68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21402" y="4921667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Arts et Métier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Espace réservé du texte 19">
            <a:extLst>
              <a:ext uri="{FF2B5EF4-FFF2-40B4-BE49-F238E27FC236}">
                <a16:creationId xmlns:a16="http://schemas.microsoft.com/office/drawing/2014/main" id="{757B0E79-48BC-8146-B981-627450C993C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52914" y="3114977"/>
            <a:ext cx="1691791" cy="252411"/>
          </a:xfrm>
        </p:spPr>
        <p:txBody>
          <a:bodyPr>
            <a:no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MANAGER: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Espace réservé du texte 19">
            <a:extLst>
              <a:ext uri="{FF2B5EF4-FFF2-40B4-BE49-F238E27FC236}">
                <a16:creationId xmlns:a16="http://schemas.microsoft.com/office/drawing/2014/main" id="{1780E8FB-3D20-C14F-A4FA-A1F1F98AAB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22109" y="4941209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fr-FR" sz="831" b="0" i="0" err="1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pméca</a:t>
            </a: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ri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Espace réservé du texte 19">
            <a:extLst>
              <a:ext uri="{FF2B5EF4-FFF2-40B4-BE49-F238E27FC236}">
                <a16:creationId xmlns:a16="http://schemas.microsoft.com/office/drawing/2014/main" id="{95E15856-F01B-FF4E-9482-01CF4FF1B7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19405" y="4848979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Centrale Nante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5B918CC6-40D2-EE43-9B53-8CB0D9202C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8C8CDC1-6BB8-5B44-8875-B6C78569459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7406018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redent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033" y="333083"/>
            <a:ext cx="7772400" cy="347382"/>
          </a:xfrm>
          <a:ln>
            <a:noFill/>
          </a:ln>
        </p:spPr>
        <p:txBody>
          <a:bodyPr anchor="ctr"/>
          <a:lstStyle>
            <a:lvl1pPr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fr-FR"/>
              <a:t>Our </a:t>
            </a:r>
            <a:r>
              <a:rPr lang="fr-FR" err="1"/>
              <a:t>credentials</a:t>
            </a:r>
            <a:r>
              <a:rPr lang="fr-FR"/>
              <a:t> in </a:t>
            </a:r>
            <a:r>
              <a:rPr lang="fr-FR" err="1"/>
              <a:t>managing</a:t>
            </a:r>
            <a:r>
              <a:rPr lang="fr-FR"/>
              <a:t> major </a:t>
            </a:r>
            <a:r>
              <a:rPr lang="fr-FR" err="1"/>
              <a:t>organizational</a:t>
            </a:r>
            <a:r>
              <a:rPr lang="fr-FR"/>
              <a:t> shift</a:t>
            </a:r>
          </a:p>
        </p:txBody>
      </p:sp>
      <p:sp>
        <p:nvSpPr>
          <p:cNvPr id="24" name="Espace réservé du texte 13">
            <a:extLst>
              <a:ext uri="{FF2B5EF4-FFF2-40B4-BE49-F238E27FC236}">
                <a16:creationId xmlns:a16="http://schemas.microsoft.com/office/drawing/2014/main" id="{96A8C027-DBDF-AF45-8EDC-F9AA2E2D89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6291" y="1617024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DDC088B1-B2AB-0442-8996-7072124DC3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8191" y="2027128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6" name="Espace réservé du texte 13">
            <a:extLst>
              <a:ext uri="{FF2B5EF4-FFF2-40B4-BE49-F238E27FC236}">
                <a16:creationId xmlns:a16="http://schemas.microsoft.com/office/drawing/2014/main" id="{02A038B4-1B64-9E47-A762-1628BA45ED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5787" y="2834499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7" name="Espace réservé du texte 13">
            <a:extLst>
              <a:ext uri="{FF2B5EF4-FFF2-40B4-BE49-F238E27FC236}">
                <a16:creationId xmlns:a16="http://schemas.microsoft.com/office/drawing/2014/main" id="{A0EFC97A-E2BC-A141-8527-E7F57F6760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3982" y="3226917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1" name="Espace réservé du texte 13">
            <a:extLst>
              <a:ext uri="{FF2B5EF4-FFF2-40B4-BE49-F238E27FC236}">
                <a16:creationId xmlns:a16="http://schemas.microsoft.com/office/drawing/2014/main" id="{A3EB6E0A-F8EC-8646-A94D-EC8521832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080" y="389705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3" name="Espace réservé du texte 13">
            <a:extLst>
              <a:ext uri="{FF2B5EF4-FFF2-40B4-BE49-F238E27FC236}">
                <a16:creationId xmlns:a16="http://schemas.microsoft.com/office/drawing/2014/main" id="{D06C11B3-60F2-3346-98A0-2890EEB0B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080" y="473751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5" name="Espace réservé du texte 13">
            <a:extLst>
              <a:ext uri="{FF2B5EF4-FFF2-40B4-BE49-F238E27FC236}">
                <a16:creationId xmlns:a16="http://schemas.microsoft.com/office/drawing/2014/main" id="{7A0E3223-17D2-3E46-BA7B-EE9BA1293F6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9167" y="553411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7" name="Espace réservé du texte 9">
            <a:extLst>
              <a:ext uri="{FF2B5EF4-FFF2-40B4-BE49-F238E27FC236}">
                <a16:creationId xmlns:a16="http://schemas.microsoft.com/office/drawing/2014/main" id="{214413A7-A008-294C-A925-6007D53C3D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787" y="1199098"/>
            <a:ext cx="2000333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>
              <a:lnSpc>
                <a:spcPct val="120000"/>
              </a:lnSpc>
            </a:pPr>
            <a:r>
              <a:rPr lang="fr-FR" sz="1108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PANY</a:t>
            </a:r>
          </a:p>
        </p:txBody>
      </p:sp>
      <p:sp>
        <p:nvSpPr>
          <p:cNvPr id="38" name="Espace réservé du texte 9">
            <a:extLst>
              <a:ext uri="{FF2B5EF4-FFF2-40B4-BE49-F238E27FC236}">
                <a16:creationId xmlns:a16="http://schemas.microsoft.com/office/drawing/2014/main" id="{88C8CA68-F69E-E14D-A0D9-378FCD9E72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2957" y="1218234"/>
            <a:ext cx="2000333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>
              <a:lnSpc>
                <a:spcPct val="120000"/>
              </a:lnSpc>
            </a:pPr>
            <a:r>
              <a:rPr lang="fr-FR" sz="1108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SIGNMENT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D2CD39D7-5ECB-F645-8460-FDC18F7033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21394" y="1617024"/>
            <a:ext cx="5944839" cy="3238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  <a:p>
            <a:pPr lvl="1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uxième niveau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E6EAAB33-846F-764C-839C-924D28A1509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21394" y="2027129"/>
            <a:ext cx="5944839" cy="72067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ACF3FFD9-C7DF-0E4F-83A4-94722E9B3C5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1394" y="2834499"/>
            <a:ext cx="5944839" cy="2836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175AEE5F-9FCB-9642-B78A-B441A1FCA4E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21394" y="3226917"/>
            <a:ext cx="5944839" cy="59440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91724ADA-78A3-D34C-A990-80C57A22F1A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1394" y="3897053"/>
            <a:ext cx="5944839" cy="6994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4FEE905C-078F-4143-B1FA-F4C0F84FF77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11463" y="4737513"/>
            <a:ext cx="5944839" cy="6994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8E7BA8A4-497A-B346-957D-AF0EB2C9A2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10369" y="5534112"/>
            <a:ext cx="5944839" cy="5951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2FC9DD98-0381-934A-A9E7-12E171788C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9AB3AC1-B3F7-CA48-9399-6ACAEBF85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6175704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6F606EC-E71D-4DE7-8189-E0E12E53C37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3774373" y="-11430"/>
            <a:ext cx="5369627" cy="6869430"/>
          </a:xfrm>
          <a:custGeom>
            <a:avLst/>
            <a:gdLst>
              <a:gd name="connsiteX0" fmla="*/ 4560570 w 7155180"/>
              <a:gd name="connsiteY0" fmla="*/ 0 h 6880860"/>
              <a:gd name="connsiteX1" fmla="*/ 7155180 w 7155180"/>
              <a:gd name="connsiteY1" fmla="*/ 6880860 h 6880860"/>
              <a:gd name="connsiteX2" fmla="*/ 0 w 7155180"/>
              <a:gd name="connsiteY2" fmla="*/ 6869430 h 6880860"/>
              <a:gd name="connsiteX3" fmla="*/ 0 w 7155180"/>
              <a:gd name="connsiteY3" fmla="*/ 11430 h 6880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5180" h="6880860">
                <a:moveTo>
                  <a:pt x="4560570" y="0"/>
                </a:moveTo>
                <a:lnTo>
                  <a:pt x="7155180" y="6880860"/>
                </a:lnTo>
                <a:lnTo>
                  <a:pt x="0" y="6869430"/>
                </a:lnTo>
                <a:lnTo>
                  <a:pt x="0" y="114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9297184-CA0B-CF43-B975-F6A3FE634E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4584124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351E436-F6B3-DF4B-B106-DB94F8F80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4617358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7E134F-66E9-654A-B1FF-C2C536030585}"/>
              </a:ext>
            </a:extLst>
          </p:cNvPr>
          <p:cNvSpPr/>
          <p:nvPr/>
        </p:nvSpPr>
        <p:spPr>
          <a:xfrm>
            <a:off x="151817" y="6201308"/>
            <a:ext cx="598220" cy="5760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62" b="0" i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69120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s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ADED4126-C3FB-4228-97BE-05DDB013385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619632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8C575F5B-47F4-43B4-8AEB-2C42B3AFFE5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39189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1C85F41-E610-4A01-A3BB-97AFA751CA2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658744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CA4950EE-8961-4BD5-BD35-95E34189F01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0075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7AB1CF83-5012-4FCA-8355-CACD6BDB102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619632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A705D39-1F6E-461A-9C0B-1B74EA88E5C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39189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D40A2BFA-FA23-4DB9-A4D1-00FD102CE6E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658744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48D6C942-265D-41F7-8402-B78250CD59C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0075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26DADD1-11D8-7344-AB73-C218377EF0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66C6162E-9289-4848-8AAF-A36BA4C7FA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3C75CC7-9AD0-6D4E-9018-B723395BC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275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5" y="1580160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5" y="3043942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15DC091-25E3-4F9C-B34E-AA51D7B4FFF2}"/>
              </a:ext>
            </a:extLst>
          </p:cNvPr>
          <p:cNvSpPr txBox="1"/>
          <p:nvPr userDrawn="1"/>
        </p:nvSpPr>
        <p:spPr>
          <a:xfrm>
            <a:off x="972738" y="795330"/>
            <a:ext cx="15587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6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34449074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EABAA97-BBF4-4E00-BAFD-36622F484FD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3964" y="1488249"/>
            <a:ext cx="3665269" cy="2145730"/>
          </a:xfrm>
          <a:custGeom>
            <a:avLst/>
            <a:gdLst>
              <a:gd name="connsiteX0" fmla="*/ 0 w 4887025"/>
              <a:gd name="connsiteY0" fmla="*/ 0 h 2145730"/>
              <a:gd name="connsiteX1" fmla="*/ 4887025 w 4887025"/>
              <a:gd name="connsiteY1" fmla="*/ 0 h 2145730"/>
              <a:gd name="connsiteX2" fmla="*/ 4887025 w 4887025"/>
              <a:gd name="connsiteY2" fmla="*/ 2145730 h 2145730"/>
              <a:gd name="connsiteX3" fmla="*/ 0 w 4887025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025" h="2145730">
                <a:moveTo>
                  <a:pt x="0" y="0"/>
                </a:moveTo>
                <a:lnTo>
                  <a:pt x="4887025" y="0"/>
                </a:lnTo>
                <a:lnTo>
                  <a:pt x="4887025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277ECAD-C044-40C9-8E2C-E49BC76AC60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64770" y="1488248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53108A3-63E7-45B1-840D-C1244CC8C53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0172" y="1488247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4F9421AD-0756-485F-ACB9-6DC303DB292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3963" y="3861050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8E13A1C8-E6F6-4031-9585-0087F0F631C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739365" y="3861049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20D6C4B0-49C9-4599-B994-8B2758DC727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64766" y="3861048"/>
            <a:ext cx="3665271" cy="2145730"/>
          </a:xfrm>
          <a:custGeom>
            <a:avLst/>
            <a:gdLst>
              <a:gd name="connsiteX0" fmla="*/ 0 w 4887028"/>
              <a:gd name="connsiteY0" fmla="*/ 0 h 2145730"/>
              <a:gd name="connsiteX1" fmla="*/ 4887028 w 4887028"/>
              <a:gd name="connsiteY1" fmla="*/ 0 h 2145730"/>
              <a:gd name="connsiteX2" fmla="*/ 4887028 w 4887028"/>
              <a:gd name="connsiteY2" fmla="*/ 2145730 h 2145730"/>
              <a:gd name="connsiteX3" fmla="*/ 0 w 4887028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028" h="2145730">
                <a:moveTo>
                  <a:pt x="0" y="0"/>
                </a:moveTo>
                <a:lnTo>
                  <a:pt x="4887028" y="0"/>
                </a:lnTo>
                <a:lnTo>
                  <a:pt x="4887028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B42F81C-5859-F145-9D59-2CB333F7E9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C5DBA548-1EE0-3B4D-926E-24DEAFCCE5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3D39B4B-A3A9-2249-BAA2-0090D48A7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56928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pic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4F69C54-690D-7749-AB37-BE76AA1C3AD9}"/>
              </a:ext>
            </a:extLst>
          </p:cNvPr>
          <p:cNvSpPr/>
          <p:nvPr/>
        </p:nvSpPr>
        <p:spPr>
          <a:xfrm>
            <a:off x="3242622" y="6309320"/>
            <a:ext cx="2625522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62" b="0" i="0">
                <a:latin typeface="Segoe UI Light" panose="020B0502040204020203" pitchFamily="34" charset="0"/>
              </a:rPr>
              <a:t>v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79E6F81-F76C-4418-A71F-948B5A1731D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181290" y="-2"/>
            <a:ext cx="1965770" cy="6858002"/>
          </a:xfrm>
          <a:custGeom>
            <a:avLst/>
            <a:gdLst>
              <a:gd name="connsiteX0" fmla="*/ 0 w 2621027"/>
              <a:gd name="connsiteY0" fmla="*/ 0 h 6858002"/>
              <a:gd name="connsiteX1" fmla="*/ 2621027 w 2621027"/>
              <a:gd name="connsiteY1" fmla="*/ 0 h 6858002"/>
              <a:gd name="connsiteX2" fmla="*/ 2621027 w 2621027"/>
              <a:gd name="connsiteY2" fmla="*/ 6858002 h 6858002"/>
              <a:gd name="connsiteX3" fmla="*/ 0 w 2621027"/>
              <a:gd name="connsiteY3" fmla="*/ 6858002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1027" h="6858002">
                <a:moveTo>
                  <a:pt x="0" y="0"/>
                </a:moveTo>
                <a:lnTo>
                  <a:pt x="2621027" y="0"/>
                </a:lnTo>
                <a:lnTo>
                  <a:pt x="2621027" y="6858002"/>
                </a:lnTo>
                <a:lnTo>
                  <a:pt x="0" y="685800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DC8EFB7-B364-47A2-AEDC-00960DD8AF2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9408" y="0"/>
            <a:ext cx="2017697" cy="3384330"/>
          </a:xfrm>
          <a:custGeom>
            <a:avLst/>
            <a:gdLst>
              <a:gd name="connsiteX0" fmla="*/ 0 w 2690262"/>
              <a:gd name="connsiteY0" fmla="*/ 0 h 3384330"/>
              <a:gd name="connsiteX1" fmla="*/ 2690262 w 2690262"/>
              <a:gd name="connsiteY1" fmla="*/ 0 h 3384330"/>
              <a:gd name="connsiteX2" fmla="*/ 2690262 w 2690262"/>
              <a:gd name="connsiteY2" fmla="*/ 3384330 h 3384330"/>
              <a:gd name="connsiteX3" fmla="*/ 0 w 2690262"/>
              <a:gd name="connsiteY3" fmla="*/ 3384330 h 338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0262" h="3384330">
                <a:moveTo>
                  <a:pt x="0" y="0"/>
                </a:moveTo>
                <a:lnTo>
                  <a:pt x="2690262" y="0"/>
                </a:lnTo>
                <a:lnTo>
                  <a:pt x="2690262" y="3384330"/>
                </a:lnTo>
                <a:lnTo>
                  <a:pt x="0" y="3384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7513B07-4A69-47F3-BF43-6384706963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089408" y="3473670"/>
            <a:ext cx="2017697" cy="3384330"/>
          </a:xfrm>
          <a:custGeom>
            <a:avLst/>
            <a:gdLst>
              <a:gd name="connsiteX0" fmla="*/ 0 w 2690262"/>
              <a:gd name="connsiteY0" fmla="*/ 0 h 3384330"/>
              <a:gd name="connsiteX1" fmla="*/ 2690262 w 2690262"/>
              <a:gd name="connsiteY1" fmla="*/ 0 h 3384330"/>
              <a:gd name="connsiteX2" fmla="*/ 2690262 w 2690262"/>
              <a:gd name="connsiteY2" fmla="*/ 3384330 h 3384330"/>
              <a:gd name="connsiteX3" fmla="*/ 0 w 2690262"/>
              <a:gd name="connsiteY3" fmla="*/ 3384330 h 338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0262" h="3384330">
                <a:moveTo>
                  <a:pt x="0" y="0"/>
                </a:moveTo>
                <a:lnTo>
                  <a:pt x="2690262" y="0"/>
                </a:lnTo>
                <a:lnTo>
                  <a:pt x="2690262" y="3384330"/>
                </a:lnTo>
                <a:lnTo>
                  <a:pt x="0" y="3384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F52C1A-C3CD-CA46-97CD-B7F0893FC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38862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0E22066D-59D7-954A-9A1E-036E327370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FA4B261-A6C0-CC46-8542-291E88297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70344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pics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DAA3CD-5647-F14F-A7B8-B88059DA9B43}"/>
              </a:ext>
            </a:extLst>
          </p:cNvPr>
          <p:cNvSpPr/>
          <p:nvPr/>
        </p:nvSpPr>
        <p:spPr>
          <a:xfrm>
            <a:off x="3242622" y="6309320"/>
            <a:ext cx="2625522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62" b="0" i="0">
                <a:latin typeface="Segoe UI Light" panose="020B0502040204020203" pitchFamily="34" charset="0"/>
              </a:rPr>
              <a:t>v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434CB8D0-D59C-4D68-81E3-A6D1431A71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95260" y="164388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C87BC13F-0E4D-4CE6-90A9-DFA22DE9CD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95260" y="2219221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D0B65217-5749-46F0-8CAB-6D71279DE44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95261" y="4274050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E13CF094-A329-4D2A-9DFD-3D9EB3B314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47533" y="164386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B56F9E2F-4FDB-4DBD-B223-674B1324199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47533" y="2746705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4FEEE239-474C-45B0-8624-C52E411800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47533" y="4799905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0A0FDDBC-9764-435B-9487-94326EB8A0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98845" y="164388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90EE34F-0B03-47CF-BC9F-4BC9A0D445A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98845" y="2219220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57BBAAE-8ACB-446E-8349-A7EA1DD074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98845" y="4274050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EF87CBF-E2CB-9A42-8134-29D298E24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2556822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3AC5BD6-EE41-334A-8DC5-5AD0B4ACD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C384C370-E765-884A-B453-D3AFF5C4E2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87785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bat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DC2A07F-A71C-4649-A0BD-EB51EB58FA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587" y="1268413"/>
            <a:ext cx="2624503" cy="39243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F72A3E-7267-C741-9065-F5931E1FD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BE5E838-2D41-074D-80EE-4F993E6E49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728700"/>
            <a:ext cx="2556822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9CA01C99-3F22-2549-AE67-B742C6CA35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60648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739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0027420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1477" b="0" i="0" baseline="0">
              <a:latin typeface="Segoe UI" panose="020B0502040204020203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id="{B91C5F77-F5BB-4753-B200-70E9F2477A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11769" y="6407719"/>
            <a:ext cx="976267" cy="301756"/>
          </a:xfrm>
          <a:prstGeom prst="rect">
            <a:avLst/>
          </a:prstGeom>
        </p:spPr>
        <p:txBody>
          <a:bodyPr anchor="ctr"/>
          <a:lstStyle>
            <a:lvl1pPr algn="ctr">
              <a:defRPr sz="10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C90B2B3-5D04-4D90-8340-AE1A8DEC9546}" type="datetime1">
              <a:rPr lang="fr-FR" smtClean="0"/>
              <a:t>09/11/2022</a:t>
            </a:fld>
            <a:endParaRPr lang="fr-FR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1FAE3667-EB04-45DD-B79A-6B681E86A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4247" y="6407719"/>
            <a:ext cx="5055507" cy="301756"/>
          </a:xfrm>
          <a:prstGeom prst="rect">
            <a:avLst/>
          </a:prstGeom>
        </p:spPr>
        <p:txBody>
          <a:bodyPr anchor="ctr"/>
          <a:lstStyle>
            <a:lvl1pPr algn="ctr">
              <a:defRPr sz="10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/>
              <a:t>© 2019 – Exécution du marché conseil en stratégie N°615186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EC5745F2-CAB9-4626-9D96-F502EE4C6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05836" y="6407719"/>
            <a:ext cx="520176" cy="301756"/>
          </a:xfrm>
          <a:prstGeom prst="rect">
            <a:avLst/>
          </a:prstGeom>
        </p:spPr>
        <p:txBody>
          <a:bodyPr rIns="0" anchor="ctr"/>
          <a:lstStyle>
            <a:lvl1pPr algn="r">
              <a:defRPr sz="1015" b="0">
                <a:solidFill>
                  <a:schemeClr val="tx2"/>
                </a:solidFill>
              </a:defRPr>
            </a:lvl1pPr>
          </a:lstStyle>
          <a:p>
            <a:fld id="{5B4B94EB-EA19-4609-98BF-9B9B2F67486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6E3F56A-B978-4FC8-BBBC-E2513A549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989" y="260350"/>
            <a:ext cx="8508023" cy="406400"/>
          </a:xfrm>
        </p:spPr>
        <p:txBody>
          <a:bodyPr anchor="b">
            <a:normAutofit/>
          </a:bodyPr>
          <a:lstStyle>
            <a:lvl1pPr>
              <a:defRPr sz="1477" b="1"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2410BE33-DA7F-41D2-BB8A-AF34FCAD45D0}"/>
              </a:ext>
            </a:extLst>
          </p:cNvPr>
          <p:cNvCxnSpPr/>
          <p:nvPr userDrawn="1"/>
        </p:nvCxnSpPr>
        <p:spPr>
          <a:xfrm>
            <a:off x="317989" y="693420"/>
            <a:ext cx="30099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DD66314-9254-4080-8ACA-D2FCC8B073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7989" y="981075"/>
            <a:ext cx="8508023" cy="5219700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1812191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059307A9-CCA1-C141-8CBA-EF3702A508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1171052-1C83-E947-8934-6A56CD4DB0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716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0DC2DEF-D8DD-D647-9566-83D46914D4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274638"/>
            <a:ext cx="7772400" cy="425450"/>
          </a:xfrm>
        </p:spPr>
        <p:txBody>
          <a:bodyPr>
            <a:normAutofit/>
          </a:bodyPr>
          <a:lstStyle>
            <a:lvl1pPr marL="0" indent="0">
              <a:buNone/>
              <a:defRPr sz="2105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358285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69B986-A51F-D245-9BCC-3B1679B13915}"/>
              </a:ext>
            </a:extLst>
          </p:cNvPr>
          <p:cNvSpPr/>
          <p:nvPr/>
        </p:nvSpPr>
        <p:spPr>
          <a:xfrm>
            <a:off x="0" y="5805264"/>
            <a:ext cx="9144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62" b="0" i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261522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E00F004F-2D04-7B4A-A582-B676C48B1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B77093A-8FD9-C743-8AB9-68B77F906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8"/>
            <a:ext cx="7772400" cy="425450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8910578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52424"/>
            <a:ext cx="7772400" cy="4627563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ADDB5E15-B132-604E-A96C-467AD56986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4553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52424"/>
            <a:ext cx="77724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55" indent="-171455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42909" indent="-171455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63" indent="-171455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816" indent="-171455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18470461-A83A-E840-9104-A76AC7AEE9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60648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1501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8" y="795330"/>
            <a:ext cx="15587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6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5" y="1580160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5" y="3043942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05100846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52424"/>
            <a:ext cx="381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52424"/>
            <a:ext cx="381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11585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B7B9635-D6E8-6542-8038-741450A4A3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79502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065312"/>
            <a:ext cx="3811588" cy="46166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1560285"/>
            <a:ext cx="3811588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65312"/>
            <a:ext cx="3813174" cy="46166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560285"/>
            <a:ext cx="3813174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D6DDDB84-1992-F648-B664-E15D6D7A61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F39B69A-DF0C-C74B-AECB-8C84FDD6DF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46037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9930298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83F19B5F-D435-1149-B342-0F2F0C45FA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620EA93-C2A2-7F47-A352-980A54D240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35242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3005839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54348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9DE56FB2-AE45-264D-BFD7-170416578D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8736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00BEF6B9-7CF7-AD4D-9BD8-DD59844438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4F20D2C-2F58-8341-84A1-6C9C6F946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54348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654CB0F-3CD9-4441-AAA2-6FDC10CAA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39020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3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6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7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3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6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7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119953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30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9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7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5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30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9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7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5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2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30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9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7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5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64618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3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6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3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6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7607808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086247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3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6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3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6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02552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6670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482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6294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66B491E-8DB3-F043-AE38-6C1B8D9A25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65619C-6DC0-E340-8E4D-22F8BC9E96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4693035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961888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55499977-E8EC-4744-97B7-18E10E4D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A3BACF1-BB88-5B4A-85B4-E6BA0E7023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246119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B04862A-A275-4962-837D-438AAAF79A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8" y="795330"/>
            <a:ext cx="15587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6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6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5" y="1580160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5" y="3043942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858369589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961888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6025935A-C352-B34F-8B46-598C300E4B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818EA5D-75AA-DE4E-AE56-1C4B23543A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1460817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0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3A56DBC1-759F-7441-9298-3445D016AE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007D57B-268D-5C4C-AB39-804902E6BD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462593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0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CF4CDE3-2F4A-FF48-9887-9A9C3DFF9E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D311C3-8CB6-3D4D-9C94-B2893CDD47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9275833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9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8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5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FA31A7D9-010F-474B-9516-467EE97D83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5DA64B4-19D6-4940-8229-DA7356FDE0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16744818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9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8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5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0CA93C7B-3531-4149-9503-30719B4B4A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7319F52-594E-E44B-9500-FA84984DD2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9977752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AAB8E42C-CA33-D44A-9946-4EFC2F8B41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5329BAE-3C57-B340-B862-946356B54B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7229197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F19EB1A3-0042-CA45-B582-129198E993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9151B5C-00AA-CC48-90DA-C2DE47117A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8896336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694989D7-F531-FE4F-B946-5BAD301BC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7634E98-0CB2-0A48-8FD4-40F397C3E3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0075299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9" y="4717011"/>
            <a:ext cx="1831086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8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5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4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7" name="Graphique 16">
            <a:extLst>
              <a:ext uri="{FF2B5EF4-FFF2-40B4-BE49-F238E27FC236}">
                <a16:creationId xmlns:a16="http://schemas.microsoft.com/office/drawing/2014/main" id="{BB8D2062-AD3C-7D46-9953-DE503CF47A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21D69C5-DBA6-BF41-846B-6718080B6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6185187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9" y="4717011"/>
            <a:ext cx="1831086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8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5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4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2A89A3B3-ED9F-B340-BD5B-E9699F9477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3666FBF-6FAF-6F4B-8B30-7C54522AFC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736786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5" y="1580160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5" y="3043942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15DC091-25E3-4F9C-B34E-AA51D7B4FFF2}"/>
              </a:ext>
            </a:extLst>
          </p:cNvPr>
          <p:cNvSpPr txBox="1"/>
          <p:nvPr userDrawn="1"/>
        </p:nvSpPr>
        <p:spPr>
          <a:xfrm>
            <a:off x="972738" y="795330"/>
            <a:ext cx="15587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6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102274413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85800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961888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EEF6BB38-D89A-7C40-A577-40E43FEA08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D3CBC66-E198-B141-B0B1-B0DA21282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3707237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6946" y="1397000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3" y="1397000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704409"/>
            <a:ext cx="3813048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704409"/>
            <a:ext cx="3813048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86946" y="3060985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3" y="3060985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363588A7-351F-574F-A1B3-D5C433ED74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268BEFF-37F5-AB4C-A016-F42BED05B4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6091347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4361217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4361217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4361217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4361217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88C2DAF-626B-364D-9098-A1709749D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629AE43-B5E4-9043-A3FA-0F7EBEBE16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1132307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4822882"/>
            <a:ext cx="2496312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4822882"/>
            <a:ext cx="2496312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4822882"/>
            <a:ext cx="2496312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A4036CC-97E5-B849-A2A9-7CCF91196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D165CD7-863A-0B4F-9531-94699F2D1A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7058124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6999"/>
            <a:ext cx="381419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6999"/>
            <a:ext cx="381419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4822883"/>
            <a:ext cx="3813048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4822883"/>
            <a:ext cx="3813048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7C6BE1A-D729-5042-B853-CB90AED790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9565308-AC5C-3142-83A2-E89792A03F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5235486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2739174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2739174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2739174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2739174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4212305"/>
            <a:ext cx="1831086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666239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646678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627115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F0F881DA-A7CC-BD41-A84F-BF7A9D51CF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4A0912B-C107-C44E-ACD7-611AF7E62D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61534097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2739174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2739174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2739174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2739174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4212305"/>
            <a:ext cx="1831086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666239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646678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627115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9440E4D-4DA5-4D4E-8661-8390073C06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339AC01-3C2B-3A4D-9F46-7F093BFE49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4090178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39"/>
            <a:ext cx="2496312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3200839"/>
            <a:ext cx="2496312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3200839"/>
            <a:ext cx="2496312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795E97A-C56F-C049-B2AC-3775503493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6EB6E31-FB91-9041-B8C1-6FC719D3DC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0389410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pic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42"/>
            <a:ext cx="3813048" cy="840230"/>
          </a:xfrm>
          <a:solidFill>
            <a:srgbClr val="3681C7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3200842"/>
            <a:ext cx="3813048" cy="840230"/>
          </a:xfrm>
          <a:solidFill>
            <a:srgbClr val="15A3E9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2F5563A4-00DA-0A4A-9191-3B7C3C63C6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0D37E20-FC27-B249-B0F0-0453E036D0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8039604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pic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42"/>
            <a:ext cx="3813048" cy="840230"/>
          </a:xfrm>
          <a:solidFill>
            <a:srgbClr val="2C68A0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3200842"/>
            <a:ext cx="3813048" cy="840230"/>
          </a:xfrm>
          <a:solidFill>
            <a:srgbClr val="1C476C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EBBA0772-2351-A74B-BDE0-3FF4260101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A74A77-8429-6948-B720-9EB3CE4A81C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969824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8" y="795330"/>
            <a:ext cx="155870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6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8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5" y="1580160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5" y="3043942"/>
            <a:ext cx="155870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36461977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8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2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409681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5590922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7772165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8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2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3409681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5590922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7772165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8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2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3409681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5590922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7772165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50" name="Graphique 49">
            <a:extLst>
              <a:ext uri="{FF2B5EF4-FFF2-40B4-BE49-F238E27FC236}">
                <a16:creationId xmlns:a16="http://schemas.microsoft.com/office/drawing/2014/main" id="{D058E5D0-D554-E74A-87ED-C98A24C4D4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612EA65-720A-4949-A1AF-2F2E8F0D69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1209747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9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9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6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6" y="1639789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3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9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6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6" y="315354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3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9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069976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6" y="4667304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6911513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7312B073-661F-FB4E-AF0D-6080D8E7A9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0864F43-5915-E549-8CCF-3116EF2F18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1609924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9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6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6" y="1639789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3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88657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9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388657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6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6" y="3886576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3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654AAC40-CD50-F84E-85F5-562C212445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988FE156-5781-9142-82F5-0A123F5397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882486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rect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1" y="1639790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721530" y="1639792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3" y="1639790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002677" y="1639792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1" y="3886577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721530" y="3886579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3" y="3886577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6002677" y="3886579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BC51E826-0E67-C244-9010-FD4209835C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5020CB4-0DAD-0A44-8D83-1434A8B5ADF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859407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3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3554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73170" y="1988840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1543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11874" y="1988840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270246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50575" y="1988839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108949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AAA5E498-2F5F-D245-888E-6ABB881D0E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58C416B-B627-0442-8DAC-E45FFAD75D1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3843498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8474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6202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39441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019098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2642337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5121995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745234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685800" y="77945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4893" y="1952836"/>
            <a:ext cx="1049445" cy="10862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6848130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EE6D15DB-1BDB-3A46-AC60-80C3313397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88187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prof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2" y="1268759"/>
            <a:ext cx="1764195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93479" y="1268759"/>
            <a:ext cx="1764195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600781" y="1268759"/>
            <a:ext cx="1859858" cy="3535680"/>
          </a:xfrm>
        </p:spPr>
        <p:txBody>
          <a:bodyPr>
            <a:noAutofit/>
          </a:bodyPr>
          <a:lstStyle>
            <a:lvl1pPr marL="0" indent="0">
              <a:buNone/>
              <a:defRPr sz="1050" b="0" i="0">
                <a:solidFill>
                  <a:schemeClr val="accent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050"/>
            </a:lvl2pPr>
            <a:lvl3pPr marL="113116" indent="-113116">
              <a:defRPr sz="1050"/>
            </a:lvl3pPr>
            <a:lvl4pPr marL="301244" indent="-155980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598342" y="1268759"/>
            <a:ext cx="1859858" cy="3535680"/>
          </a:xfrm>
        </p:spPr>
        <p:txBody>
          <a:bodyPr>
            <a:noAutofit/>
          </a:bodyPr>
          <a:lstStyle>
            <a:lvl1pPr marL="0" indent="0">
              <a:buNone/>
              <a:defRPr sz="1050" b="0" i="0">
                <a:solidFill>
                  <a:schemeClr val="accent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050"/>
            </a:lvl2pPr>
            <a:lvl3pPr marL="113116" indent="-113116">
              <a:defRPr sz="1050"/>
            </a:lvl3pPr>
            <a:lvl4pPr marL="301244" indent="-155980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85802" y="4980569"/>
            <a:ext cx="377483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93479" y="4980569"/>
            <a:ext cx="376472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73421630-C055-AD46-807F-7527B40694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22C3340-8B3F-F94F-B841-3DB7533A7F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4517033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id="{D561C17F-D64D-114D-BC58-98CF72A78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9705" y="1622789"/>
            <a:ext cx="3452214" cy="2892343"/>
          </a:xfrm>
        </p:spPr>
        <p:txBody>
          <a:bodyPr>
            <a:normAutofit/>
          </a:bodyPr>
          <a:lstStyle>
            <a:lvl1pPr marL="0" indent="0" algn="l">
              <a:buNone/>
              <a:defRPr sz="923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Nunc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fr-FR" sz="831" b="0" i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Espace réservé du texte 16">
            <a:extLst>
              <a:ext uri="{FF2B5EF4-FFF2-40B4-BE49-F238E27FC236}">
                <a16:creationId xmlns:a16="http://schemas.microsoft.com/office/drawing/2014/main" id="{B7180C5D-135F-DE49-867C-FCEA74E7FF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88551" y="1622789"/>
            <a:ext cx="3469650" cy="2892343"/>
          </a:xfrm>
        </p:spPr>
        <p:txBody>
          <a:bodyPr>
            <a:normAutofit/>
          </a:bodyPr>
          <a:lstStyle>
            <a:lvl1pPr marL="0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Nunc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fr-FR" sz="831" b="0" i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Espace réservé du texte 20">
            <a:extLst>
              <a:ext uri="{FF2B5EF4-FFF2-40B4-BE49-F238E27FC236}">
                <a16:creationId xmlns:a16="http://schemas.microsoft.com/office/drawing/2014/main" id="{4ECCDA16-844E-8745-8D37-6665F155DD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9705" y="1203837"/>
            <a:ext cx="3452214" cy="316950"/>
          </a:xfrm>
        </p:spPr>
        <p:txBody>
          <a:bodyPr>
            <a:noAutofit/>
          </a:bodyPr>
          <a:lstStyle>
            <a:lvl1pPr marL="0" indent="0">
              <a:buNone/>
              <a:defRPr sz="1108" b="0" i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AMET, CONSECTETUR ADIPISCING ELIT. MORBI VITAE AUGUE FERMENTUM</a:t>
            </a:r>
          </a:p>
        </p:txBody>
      </p:sp>
      <p:sp>
        <p:nvSpPr>
          <p:cNvPr id="18" name="Espace réservé du texte 20">
            <a:extLst>
              <a:ext uri="{FF2B5EF4-FFF2-40B4-BE49-F238E27FC236}">
                <a16:creationId xmlns:a16="http://schemas.microsoft.com/office/drawing/2014/main" id="{909D0FBB-486C-5642-805D-EE519DBE0C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8550" y="1203837"/>
            <a:ext cx="3452214" cy="316950"/>
          </a:xfrm>
        </p:spPr>
        <p:txBody>
          <a:bodyPr>
            <a:noAutofit/>
          </a:bodyPr>
          <a:lstStyle>
            <a:lvl1pPr marL="0" indent="0">
              <a:buNone/>
              <a:defRPr sz="1108" b="0" i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AMET, CONSECTETUR ADIPISCING ELIT. MORBI VITAE AUGUE FERMENTUM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DDD2C8DC-3776-DD45-8F8A-39D71644FE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800" y="4689476"/>
            <a:ext cx="3446585" cy="251693"/>
          </a:xfrm>
        </p:spPr>
        <p:txBody>
          <a:bodyPr>
            <a:normAutofit/>
          </a:bodyPr>
          <a:lstStyle>
            <a:lvl1pPr marL="0" indent="0" algn="l">
              <a:buNone/>
              <a:defRPr sz="923"/>
            </a:lvl1pPr>
            <a:lvl2pPr marL="171454" indent="0" algn="l">
              <a:buNone/>
              <a:defRPr/>
            </a:lvl2pPr>
            <a:lvl3pPr marL="344496" indent="0" algn="l">
              <a:buNone/>
              <a:defRPr/>
            </a:lvl3pPr>
            <a:lvl4pPr marL="515949" indent="0" algn="l">
              <a:buNone/>
              <a:defRPr/>
            </a:lvl4pPr>
            <a:lvl5pPr marL="687405" indent="0" algn="l">
              <a:buNone/>
              <a:defRPr/>
            </a:lvl5pPr>
          </a:lstStyle>
          <a:p>
            <a:pPr lvl="0"/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dum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dale</a:t>
            </a:r>
            <a:endParaRPr kumimoji="0" lang="en-US" sz="831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Espace réservé du texte 19">
            <a:extLst>
              <a:ext uri="{FF2B5EF4-FFF2-40B4-BE49-F238E27FC236}">
                <a16:creationId xmlns:a16="http://schemas.microsoft.com/office/drawing/2014/main" id="{030BA8CF-0947-3A4E-8884-1F6CEC977A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94645" y="4689476"/>
            <a:ext cx="3446585" cy="251693"/>
          </a:xfrm>
        </p:spPr>
        <p:txBody>
          <a:bodyPr>
            <a:normAutofit/>
          </a:bodyPr>
          <a:lstStyle>
            <a:lvl1pPr marL="0" indent="0" algn="l">
              <a:buNone/>
              <a:defRPr sz="923"/>
            </a:lvl1pPr>
            <a:lvl2pPr marL="171454" indent="0" algn="l">
              <a:buNone/>
              <a:defRPr/>
            </a:lvl2pPr>
            <a:lvl3pPr marL="344496" indent="0" algn="l">
              <a:buNone/>
              <a:defRPr/>
            </a:lvl3pPr>
            <a:lvl4pPr marL="515949" indent="0" algn="l">
              <a:buNone/>
              <a:defRPr/>
            </a:lvl4pPr>
            <a:lvl5pPr marL="687405" indent="0" algn="l">
              <a:buNone/>
              <a:defRPr/>
            </a:lvl5pPr>
          </a:lstStyle>
          <a:p>
            <a:pPr lvl="0"/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dum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dale</a:t>
            </a:r>
            <a:endParaRPr kumimoji="0" lang="en-US" sz="831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8F593E58-673D-1148-A3BB-0462D7155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16943"/>
            <a:ext cx="7772400" cy="340724"/>
          </a:xfrm>
        </p:spPr>
        <p:txBody>
          <a:bodyPr anchor="t"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endParaRPr lang="fr-FR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F562348-6639-094F-975D-DC1D19C48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0EFFCB1-6ED5-BB40-B1FE-61B71ED63A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7113001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C8467E19-8FBC-2846-A58D-3265F5212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410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F482980A-F64E-EF40-B05C-78A6EDAC86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9865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D6B9960-A269-F14A-989C-A5B255FD27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05029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115A1495-E42C-DF46-990F-D0ADC21BE2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410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D30F3E7F-9CC4-EF42-90C1-4BB9B05ABE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9865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068EB0D8-3880-5E4E-A524-E07BDA667B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05029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9">
            <a:extLst>
              <a:ext uri="{FF2B5EF4-FFF2-40B4-BE49-F238E27FC236}">
                <a16:creationId xmlns:a16="http://schemas.microsoft.com/office/drawing/2014/main" id="{6DB02B1F-DA00-4F4A-95BF-91EF515530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5164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1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BDA18899-EFD1-FF48-A3B7-8FE5811E0B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86717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2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DDF5498E-6E23-6849-8D8E-4D29F138D4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01879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DAF3E67-D170-F742-A095-7878D0AE9C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5164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4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6033A3A2-B688-F34A-985C-24CD9D7D11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86717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5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61405870-F208-BC4C-8EDE-89049CBC22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01879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6</a:t>
            </a: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F8A2ADC4-8B85-224C-A734-BEE3109D5C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16943"/>
            <a:ext cx="7772400" cy="340724"/>
          </a:xfrm>
        </p:spPr>
        <p:txBody>
          <a:bodyPr anchor="ctr"/>
          <a:lstStyle>
            <a:lvl1pPr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fr-FR"/>
              <a:t>Atouts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171D64AC-1285-D043-939C-14FBB09DC9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A32DEDA-6678-8045-BC0F-1BC7CBE609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312133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51972"/>
            <a:ext cx="7772400" cy="628756"/>
          </a:xfrm>
        </p:spPr>
        <p:txBody>
          <a:bodyPr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r>
              <a:rPr lang="fr-FR"/>
              <a:t> </a:t>
            </a:r>
            <a:r>
              <a:rPr lang="fr-FR" err="1"/>
              <a:t>hastisque</a:t>
            </a:r>
            <a:r>
              <a:rPr lang="fr-FR"/>
              <a:t> </a:t>
            </a:r>
            <a:r>
              <a:rPr lang="fr-FR" err="1"/>
              <a:t>feriens</a:t>
            </a:r>
            <a:r>
              <a:rPr lang="fr-FR"/>
              <a:t> scuta qui habitus </a:t>
            </a:r>
            <a:r>
              <a:rPr lang="fr-FR" err="1"/>
              <a:t>iram</a:t>
            </a:r>
            <a:r>
              <a:rPr lang="fr-FR"/>
              <a:t> </a:t>
            </a:r>
            <a:r>
              <a:rPr lang="fr-FR" err="1"/>
              <a:t>pugnantium</a:t>
            </a:r>
            <a:r>
              <a:rPr lang="fr-FR"/>
              <a:t> </a:t>
            </a:r>
            <a:r>
              <a:rPr lang="fr-FR" err="1"/>
              <a:t>concitat</a:t>
            </a:r>
            <a:endParaRPr lang="fr-FR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BE6FF84-B617-E844-A665-802CB0BAA502}"/>
              </a:ext>
            </a:extLst>
          </p:cNvPr>
          <p:cNvSpPr txBox="1">
            <a:spLocks/>
          </p:cNvSpPr>
          <p:nvPr/>
        </p:nvSpPr>
        <p:spPr>
          <a:xfrm>
            <a:off x="499525" y="1520788"/>
            <a:ext cx="996923" cy="108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1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6D5411-8278-F64F-AA41-84F0085ACF3C}"/>
              </a:ext>
            </a:extLst>
          </p:cNvPr>
          <p:cNvSpPr txBox="1">
            <a:spLocks/>
          </p:cNvSpPr>
          <p:nvPr/>
        </p:nvSpPr>
        <p:spPr>
          <a:xfrm>
            <a:off x="1952315" y="1520788"/>
            <a:ext cx="996923" cy="1080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2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A94810E-A474-BD49-9067-F2AB653D88A2}"/>
              </a:ext>
            </a:extLst>
          </p:cNvPr>
          <p:cNvSpPr txBox="1">
            <a:spLocks/>
          </p:cNvSpPr>
          <p:nvPr/>
        </p:nvSpPr>
        <p:spPr>
          <a:xfrm>
            <a:off x="3375559" y="1520788"/>
            <a:ext cx="996923" cy="1080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3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37D1E30-4E08-8545-A624-D93B2135F95B}"/>
              </a:ext>
            </a:extLst>
          </p:cNvPr>
          <p:cNvSpPr txBox="1">
            <a:spLocks/>
          </p:cNvSpPr>
          <p:nvPr/>
        </p:nvSpPr>
        <p:spPr>
          <a:xfrm>
            <a:off x="4798804" y="1520788"/>
            <a:ext cx="996923" cy="10800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4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181B2A05-904A-FC4A-BA0A-83CA23EE5164}"/>
              </a:ext>
            </a:extLst>
          </p:cNvPr>
          <p:cNvSpPr txBox="1">
            <a:spLocks/>
          </p:cNvSpPr>
          <p:nvPr/>
        </p:nvSpPr>
        <p:spPr>
          <a:xfrm>
            <a:off x="6222048" y="1520788"/>
            <a:ext cx="996923" cy="1080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5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DC88F8A3-273F-CB4C-AF48-54804BE7C37A}"/>
              </a:ext>
            </a:extLst>
          </p:cNvPr>
          <p:cNvSpPr txBox="1">
            <a:spLocks/>
          </p:cNvSpPr>
          <p:nvPr/>
        </p:nvSpPr>
        <p:spPr>
          <a:xfrm>
            <a:off x="7645294" y="1520788"/>
            <a:ext cx="996923" cy="108000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r>
              <a:rPr lang="fr-FR" sz="3231" b="0" i="0">
                <a:latin typeface="Segoe UI Light" panose="020B0502040204020203" pitchFamily="34" charset="0"/>
              </a:rPr>
              <a:t>6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5B872118-8F18-8B44-BDD6-4D6400B4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45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7CF5C18-1E95-C243-B7C5-426CDD91A3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676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BC76D2F1-C74C-EF4B-9B5B-7D1F8910A3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9420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5D1C027F-D3CE-1444-A4AF-8739131D3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6075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89B41A96-1EB0-A843-B5A7-A41BEAF80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65156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E74B7E68-2061-E14E-AE23-DDBD7DD33D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9423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00AEB744-AD2A-8348-9DE7-6376E2D901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146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01543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6" y="241252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10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23D136EC-68F7-40A4-B62E-3FB85FCAA0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100" y="1884225"/>
            <a:ext cx="2765726" cy="4162009"/>
          </a:xfrm>
        </p:spPr>
        <p:txBody>
          <a:bodyPr>
            <a:normAutofit/>
          </a:bodyPr>
          <a:lstStyle>
            <a:lvl1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200">
                <a:latin typeface="+mj-lt"/>
                <a:cs typeface="Calibri" panose="020F0502020204030204" pitchFamily="34" charset="0"/>
              </a:defRPr>
            </a:lvl2pPr>
            <a:lvl3pPr>
              <a:defRPr sz="1100">
                <a:latin typeface="+mj-lt"/>
                <a:cs typeface="Calibri" panose="020F0502020204030204" pitchFamily="34" charset="0"/>
              </a:defRPr>
            </a:lvl3pPr>
            <a:lvl4pPr>
              <a:defRPr sz="1050">
                <a:latin typeface="+mj-lt"/>
                <a:cs typeface="Calibri" panose="020F0502020204030204" pitchFamily="34" charset="0"/>
              </a:defRPr>
            </a:lvl4pPr>
            <a:lvl5pPr>
              <a:defRPr sz="105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37DC2DC6-55F2-46F5-B80E-6BBD9A4A51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53245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56100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AD65204-B0CB-4991-8B0C-B9746E3D22B7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150390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9B9BB416-C38E-4CBD-A8EC-4331FBE8150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50390" y="1892714"/>
            <a:ext cx="2765726" cy="4162009"/>
          </a:xfrm>
        </p:spPr>
        <p:txBody>
          <a:bodyPr>
            <a:normAutofit/>
          </a:bodyPr>
          <a:lstStyle>
            <a:lvl1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latin typeface="+mj-lt"/>
                <a:cs typeface="Calibri" panose="020F0502020204030204" pitchFamily="34" charset="0"/>
              </a:defRPr>
            </a:lvl2pPr>
            <a:lvl3pPr>
              <a:defRPr sz="1100">
                <a:latin typeface="+mj-lt"/>
                <a:cs typeface="Calibri" panose="020F0502020204030204" pitchFamily="34" charset="0"/>
              </a:defRPr>
            </a:lvl3pPr>
            <a:lvl4pPr>
              <a:defRPr sz="1050">
                <a:latin typeface="+mj-lt"/>
                <a:cs typeface="Calibri" panose="020F0502020204030204" pitchFamily="34" charset="0"/>
              </a:defRPr>
            </a:lvl4pPr>
            <a:lvl5pPr>
              <a:defRPr sz="105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5F790E96-9E07-46C7-BB7B-B97CB5326FD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74226" y="1892714"/>
            <a:ext cx="2765726" cy="4162009"/>
          </a:xfrm>
        </p:spPr>
        <p:txBody>
          <a:bodyPr>
            <a:normAutofit/>
          </a:bodyPr>
          <a:lstStyle>
            <a:lvl1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latin typeface="+mj-lt"/>
                <a:cs typeface="Calibri" panose="020F0502020204030204" pitchFamily="34" charset="0"/>
              </a:defRPr>
            </a:lvl2pPr>
            <a:lvl3pPr>
              <a:defRPr sz="1100">
                <a:latin typeface="+mj-lt"/>
                <a:cs typeface="Calibri" panose="020F0502020204030204" pitchFamily="34" charset="0"/>
              </a:defRPr>
            </a:lvl3pPr>
            <a:lvl4pPr>
              <a:defRPr sz="1050">
                <a:latin typeface="+mj-lt"/>
                <a:cs typeface="Calibri" panose="020F0502020204030204" pitchFamily="34" charset="0"/>
              </a:defRPr>
            </a:lvl4pPr>
            <a:lvl5pPr>
              <a:defRPr sz="105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524F7423-5AA9-41B0-AC88-72E5CE075E95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79200EC6-7668-4554-BA1F-8FB9F3D0AA89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057BEAD0-7179-4613-8BBF-D38D717B07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90095417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locs 3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>
            <a:extLst>
              <a:ext uri="{FF2B5EF4-FFF2-40B4-BE49-F238E27FC236}">
                <a16:creationId xmlns:a16="http://schemas.microsoft.com/office/drawing/2014/main" id="{6195ED57-034D-804E-8062-A1BB1B4357BD}"/>
              </a:ext>
            </a:extLst>
          </p:cNvPr>
          <p:cNvSpPr/>
          <p:nvPr/>
        </p:nvSpPr>
        <p:spPr>
          <a:xfrm>
            <a:off x="251521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D96AC5-ACB1-5343-B150-97A7A65B8C7F}"/>
              </a:ext>
            </a:extLst>
          </p:cNvPr>
          <p:cNvSpPr/>
          <p:nvPr/>
        </p:nvSpPr>
        <p:spPr>
          <a:xfrm>
            <a:off x="3008002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BC82BB8-C31D-474E-9BC2-CCA7CC3CA0EB}"/>
              </a:ext>
            </a:extLst>
          </p:cNvPr>
          <p:cNvSpPr/>
          <p:nvPr/>
        </p:nvSpPr>
        <p:spPr>
          <a:xfrm>
            <a:off x="5734969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1577CC0-21BC-EE47-9EE3-83D8837E2868}"/>
              </a:ext>
            </a:extLst>
          </p:cNvPr>
          <p:cNvSpPr/>
          <p:nvPr/>
        </p:nvSpPr>
        <p:spPr>
          <a:xfrm>
            <a:off x="251521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56DAB77-BE19-DC49-8F90-4AFD6F720FD1}"/>
              </a:ext>
            </a:extLst>
          </p:cNvPr>
          <p:cNvSpPr/>
          <p:nvPr/>
        </p:nvSpPr>
        <p:spPr>
          <a:xfrm>
            <a:off x="3008002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0A3DDDF-952A-0846-B4D6-EE383794216A}"/>
              </a:ext>
            </a:extLst>
          </p:cNvPr>
          <p:cNvSpPr/>
          <p:nvPr/>
        </p:nvSpPr>
        <p:spPr>
          <a:xfrm>
            <a:off x="5734969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662C264B-5100-A94D-91E8-1B41B17087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741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2391E2D5-831D-CD45-8FC2-83B5250658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3585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1C4A0AF5-2632-5543-863D-5C22F7895F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5829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F61C2B9A-4D71-254E-BA77-756EC7FF9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741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A4C1D545-649F-504B-9FD2-4ED1D012B6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3585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BD27275D-5F22-AE45-ABD0-CED52D06BF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5829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798A602A-55CF-284D-A4C2-5D26F6293B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378" y="1483406"/>
            <a:ext cx="2071962" cy="207287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ULTANCY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0C7BF7F5-E80F-4948-B034-F8EE8DA906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0604" y="1483406"/>
            <a:ext cx="2071962" cy="207287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&amp; ACCOUNT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16334BA2-8B93-5247-A8F3-E9CDB36152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55829" y="1483405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PHIC DESIGN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4ACC63D6-B64C-D54B-89B7-105CF12845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5829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T MANAGEMENT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CB40137D-D7D7-AD47-B603-C1DC59629D5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30011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TIVATION</a:t>
            </a:r>
          </a:p>
        </p:txBody>
      </p:sp>
      <p:sp>
        <p:nvSpPr>
          <p:cNvPr id="44" name="Espace réservé du texte 9">
            <a:extLst>
              <a:ext uri="{FF2B5EF4-FFF2-40B4-BE49-F238E27FC236}">
                <a16:creationId xmlns:a16="http://schemas.microsoft.com/office/drawing/2014/main" id="{84CBD0E7-FF34-B643-B4AA-FC15740514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6565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C731E4-001F-6D46-A0CB-AA8854A446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273383CC-CD49-FA40-AF4F-ABE957922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31282"/>
            <a:ext cx="7772400" cy="361414"/>
          </a:xfrm>
        </p:spPr>
        <p:txBody>
          <a:bodyPr anchor="ctr"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endParaRPr lang="fr-FR"/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965860D0-F6A1-8540-BC28-FC2755C49B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18055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locs 2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51972"/>
            <a:ext cx="7772400" cy="628756"/>
          </a:xfrm>
        </p:spPr>
        <p:txBody>
          <a:bodyPr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r>
              <a:rPr lang="fr-FR"/>
              <a:t> </a:t>
            </a:r>
            <a:r>
              <a:rPr lang="fr-FR" err="1"/>
              <a:t>hastisque</a:t>
            </a:r>
            <a:r>
              <a:rPr lang="fr-FR"/>
              <a:t> </a:t>
            </a:r>
            <a:r>
              <a:rPr lang="fr-FR" err="1"/>
              <a:t>feriens</a:t>
            </a:r>
            <a:r>
              <a:rPr lang="fr-FR"/>
              <a:t> scuta qui habitus </a:t>
            </a:r>
            <a:r>
              <a:rPr lang="fr-FR" err="1"/>
              <a:t>iram</a:t>
            </a:r>
            <a:r>
              <a:rPr lang="fr-FR"/>
              <a:t> </a:t>
            </a:r>
            <a:r>
              <a:rPr lang="fr-FR" err="1"/>
              <a:t>pugnantium</a:t>
            </a:r>
            <a:r>
              <a:rPr lang="fr-FR"/>
              <a:t> </a:t>
            </a:r>
            <a:r>
              <a:rPr lang="fr-FR" err="1"/>
              <a:t>concitat</a:t>
            </a:r>
            <a:endParaRPr lang="fr-FR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6195ED57-034D-804E-8062-A1BB1B4357BD}"/>
              </a:ext>
            </a:extLst>
          </p:cNvPr>
          <p:cNvSpPr/>
          <p:nvPr/>
        </p:nvSpPr>
        <p:spPr>
          <a:xfrm>
            <a:off x="251521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D96AC5-ACB1-5343-B150-97A7A65B8C7F}"/>
              </a:ext>
            </a:extLst>
          </p:cNvPr>
          <p:cNvSpPr/>
          <p:nvPr/>
        </p:nvSpPr>
        <p:spPr>
          <a:xfrm>
            <a:off x="251521" y="2971267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BC82BB8-C31D-474E-9BC2-CCA7CC3CA0EB}"/>
              </a:ext>
            </a:extLst>
          </p:cNvPr>
          <p:cNvSpPr/>
          <p:nvPr/>
        </p:nvSpPr>
        <p:spPr>
          <a:xfrm>
            <a:off x="251521" y="4612164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1577CC0-21BC-EE47-9EE3-83D8837E2868}"/>
              </a:ext>
            </a:extLst>
          </p:cNvPr>
          <p:cNvSpPr/>
          <p:nvPr/>
        </p:nvSpPr>
        <p:spPr>
          <a:xfrm>
            <a:off x="4442058" y="1440463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56DAB77-BE19-DC49-8F90-4AFD6F720FD1}"/>
              </a:ext>
            </a:extLst>
          </p:cNvPr>
          <p:cNvSpPr/>
          <p:nvPr/>
        </p:nvSpPr>
        <p:spPr>
          <a:xfrm>
            <a:off x="4460913" y="296154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0A3DDDF-952A-0846-B4D6-EE383794216A}"/>
              </a:ext>
            </a:extLst>
          </p:cNvPr>
          <p:cNvSpPr/>
          <p:nvPr/>
        </p:nvSpPr>
        <p:spPr>
          <a:xfrm>
            <a:off x="4471572" y="4582179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F96508CC-9CAC-D94E-9B76-8D5CE523DF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078" y="1772816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D26640EC-8478-AB44-8B36-EB897B24BD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2078" y="337528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526FAAA4-17CE-A74B-9425-722C76FBA9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2078" y="499546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07ECE29-D931-8C4F-B1AF-FCD697D883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02855" y="1772816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271788DF-4067-5A40-B8A1-212DED716F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2855" y="337528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9C62AD59-2B64-C442-90E1-4F567E08AF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2855" y="499546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92C4AE38-9F8E-F840-8BE0-745A1A3832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2078" y="1460692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ULTANCY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108E3404-2EC7-A742-B40F-411A1F7678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2078" y="3067704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&amp; ACCOUNT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3CF296E7-525E-A740-9DC8-D82CED1C5F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078" y="4690625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PHIC DESIGN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22EC26C0-3AAE-0E48-8708-E84A82F0849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02855" y="4690625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T MANAGEMENT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1A77401D-64E8-A543-A7AB-E78A144C5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02855" y="3067704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TIVATION</a:t>
            </a:r>
          </a:p>
        </p:txBody>
      </p:sp>
      <p:sp>
        <p:nvSpPr>
          <p:cNvPr id="44" name="Espace réservé du texte 9">
            <a:extLst>
              <a:ext uri="{FF2B5EF4-FFF2-40B4-BE49-F238E27FC236}">
                <a16:creationId xmlns:a16="http://schemas.microsoft.com/office/drawing/2014/main" id="{0A108E76-117B-A146-94BD-48A85E6D5B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02855" y="1460692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D7AD1DB6-CF0C-924E-8965-AB3215A4C2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30880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tre équ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799" y="362835"/>
            <a:ext cx="7772400" cy="314746"/>
          </a:xfrm>
        </p:spPr>
        <p:txBody>
          <a:bodyPr/>
          <a:lstStyle>
            <a:lvl1pPr>
              <a:defRPr b="0"/>
            </a:lvl1pPr>
          </a:lstStyle>
          <a:p>
            <a:r>
              <a:rPr lang="fr-FR"/>
              <a:t>Notre équipe d’intervenant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864FFDA6-8BB0-EB43-8EB5-B85B84EE95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2085" y="1716975"/>
            <a:ext cx="7276114" cy="69427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Cliquez pour modifier les styles du texte du masque</a:t>
            </a:r>
          </a:p>
          <a:p>
            <a:pPr lvl="1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Deuxième niveau</a:t>
            </a:r>
          </a:p>
          <a:p>
            <a:pPr lvl="2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Troisième niveau</a:t>
            </a:r>
          </a:p>
          <a:p>
            <a:pPr lvl="3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Quatrième niveau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21BCBE88-0FE3-344D-9CDA-610088F8504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4624" y="1241416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46326B1A-395B-9048-8ED9-7B709837D1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8554" y="3565241"/>
            <a:ext cx="7276114" cy="70972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Cliquez pour modifier les styles du texte du masque</a:t>
            </a:r>
          </a:p>
        </p:txBody>
      </p:sp>
      <p:sp>
        <p:nvSpPr>
          <p:cNvPr id="26" name="Espace réservé pour une image  5">
            <a:extLst>
              <a:ext uri="{FF2B5EF4-FFF2-40B4-BE49-F238E27FC236}">
                <a16:creationId xmlns:a16="http://schemas.microsoft.com/office/drawing/2014/main" id="{806FEEDE-992D-CE4D-918F-92CFB6F32B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4623" y="3104965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7" name="Espace réservé du texte 9">
            <a:extLst>
              <a:ext uri="{FF2B5EF4-FFF2-40B4-BE49-F238E27FC236}">
                <a16:creationId xmlns:a16="http://schemas.microsoft.com/office/drawing/2014/main" id="{D221A175-261D-E342-AA16-6A23C47FF2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623" y="2788056"/>
            <a:ext cx="8170046" cy="218006"/>
          </a:xfrm>
        </p:spPr>
        <p:txBody>
          <a:bodyPr>
            <a:normAutofit/>
          </a:bodyPr>
          <a:lstStyle>
            <a:lvl1pPr marL="0" indent="0" algn="ctr">
              <a:buNone/>
              <a:defRPr sz="1477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ÉQUIPE COEUR</a:t>
            </a:r>
          </a:p>
        </p:txBody>
      </p:sp>
      <p:sp>
        <p:nvSpPr>
          <p:cNvPr id="28" name="Espace réservé pour une image  5">
            <a:extLst>
              <a:ext uri="{FF2B5EF4-FFF2-40B4-BE49-F238E27FC236}">
                <a16:creationId xmlns:a16="http://schemas.microsoft.com/office/drawing/2014/main" id="{396EFCED-CC81-CC4C-81FA-7084ADC8EB0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51786" y="4921667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Espace réservé pour une image  5">
            <a:extLst>
              <a:ext uri="{FF2B5EF4-FFF2-40B4-BE49-F238E27FC236}">
                <a16:creationId xmlns:a16="http://schemas.microsoft.com/office/drawing/2014/main" id="{C738B4D2-D6C2-6F42-8AFC-4218B96C542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4127" y="4931905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0" name="Espace réservé pour une image  5">
            <a:extLst>
              <a:ext uri="{FF2B5EF4-FFF2-40B4-BE49-F238E27FC236}">
                <a16:creationId xmlns:a16="http://schemas.microsoft.com/office/drawing/2014/main" id="{CE6C50C2-FFB5-6A4E-98B3-A01811853E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55388" y="4848979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6" name="Espace réservé du texte 19">
            <a:extLst>
              <a:ext uri="{FF2B5EF4-FFF2-40B4-BE49-F238E27FC236}">
                <a16:creationId xmlns:a16="http://schemas.microsoft.com/office/drawing/2014/main" id="{5B188B30-C8D5-5643-AE09-6199F8EA8E7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82085" y="1241416"/>
            <a:ext cx="1280579" cy="252411"/>
          </a:xfrm>
        </p:spPr>
        <p:txBody>
          <a:bodyPr>
            <a:no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ASSOCIE: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Espace réservé du texte 19">
            <a:extLst>
              <a:ext uri="{FF2B5EF4-FFF2-40B4-BE49-F238E27FC236}">
                <a16:creationId xmlns:a16="http://schemas.microsoft.com/office/drawing/2014/main" id="{82F96A94-7781-134F-8987-FA7F0B1B68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21402" y="4921667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Arts et Métier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Espace réservé du texte 19">
            <a:extLst>
              <a:ext uri="{FF2B5EF4-FFF2-40B4-BE49-F238E27FC236}">
                <a16:creationId xmlns:a16="http://schemas.microsoft.com/office/drawing/2014/main" id="{757B0E79-48BC-8146-B981-627450C993C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52914" y="3114977"/>
            <a:ext cx="1691791" cy="252411"/>
          </a:xfrm>
        </p:spPr>
        <p:txBody>
          <a:bodyPr>
            <a:no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MANAGER: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Espace réservé du texte 19">
            <a:extLst>
              <a:ext uri="{FF2B5EF4-FFF2-40B4-BE49-F238E27FC236}">
                <a16:creationId xmlns:a16="http://schemas.microsoft.com/office/drawing/2014/main" id="{1780E8FB-3D20-C14F-A4FA-A1F1F98AAB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22109" y="4941209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fr-FR" sz="831" b="0" i="0" err="1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pméca</a:t>
            </a: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ri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Espace réservé du texte 19">
            <a:extLst>
              <a:ext uri="{FF2B5EF4-FFF2-40B4-BE49-F238E27FC236}">
                <a16:creationId xmlns:a16="http://schemas.microsoft.com/office/drawing/2014/main" id="{95E15856-F01B-FF4E-9482-01CF4FF1B7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19405" y="4848979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Centrale Nante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5B918CC6-40D2-EE43-9B53-8CB0D9202C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8C8CDC1-6BB8-5B44-8875-B6C78569459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4538896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redent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033" y="333083"/>
            <a:ext cx="7772400" cy="347382"/>
          </a:xfrm>
          <a:ln>
            <a:noFill/>
          </a:ln>
        </p:spPr>
        <p:txBody>
          <a:bodyPr anchor="ctr"/>
          <a:lstStyle>
            <a:lvl1pPr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fr-FR"/>
              <a:t>Our </a:t>
            </a:r>
            <a:r>
              <a:rPr lang="fr-FR" err="1"/>
              <a:t>credentials</a:t>
            </a:r>
            <a:r>
              <a:rPr lang="fr-FR"/>
              <a:t> in </a:t>
            </a:r>
            <a:r>
              <a:rPr lang="fr-FR" err="1"/>
              <a:t>managing</a:t>
            </a:r>
            <a:r>
              <a:rPr lang="fr-FR"/>
              <a:t> major </a:t>
            </a:r>
            <a:r>
              <a:rPr lang="fr-FR" err="1"/>
              <a:t>organizational</a:t>
            </a:r>
            <a:r>
              <a:rPr lang="fr-FR"/>
              <a:t> shift</a:t>
            </a:r>
          </a:p>
        </p:txBody>
      </p:sp>
      <p:sp>
        <p:nvSpPr>
          <p:cNvPr id="24" name="Espace réservé du texte 13">
            <a:extLst>
              <a:ext uri="{FF2B5EF4-FFF2-40B4-BE49-F238E27FC236}">
                <a16:creationId xmlns:a16="http://schemas.microsoft.com/office/drawing/2014/main" id="{96A8C027-DBDF-AF45-8EDC-F9AA2E2D89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6291" y="1617024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DDC088B1-B2AB-0442-8996-7072124DC3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8191" y="2027128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6" name="Espace réservé du texte 13">
            <a:extLst>
              <a:ext uri="{FF2B5EF4-FFF2-40B4-BE49-F238E27FC236}">
                <a16:creationId xmlns:a16="http://schemas.microsoft.com/office/drawing/2014/main" id="{02A038B4-1B64-9E47-A762-1628BA45ED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5787" y="2834499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7" name="Espace réservé du texte 13">
            <a:extLst>
              <a:ext uri="{FF2B5EF4-FFF2-40B4-BE49-F238E27FC236}">
                <a16:creationId xmlns:a16="http://schemas.microsoft.com/office/drawing/2014/main" id="{A0EFC97A-E2BC-A141-8527-E7F57F6760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3982" y="3226917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1" name="Espace réservé du texte 13">
            <a:extLst>
              <a:ext uri="{FF2B5EF4-FFF2-40B4-BE49-F238E27FC236}">
                <a16:creationId xmlns:a16="http://schemas.microsoft.com/office/drawing/2014/main" id="{A3EB6E0A-F8EC-8646-A94D-EC8521832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080" y="389705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3" name="Espace réservé du texte 13">
            <a:extLst>
              <a:ext uri="{FF2B5EF4-FFF2-40B4-BE49-F238E27FC236}">
                <a16:creationId xmlns:a16="http://schemas.microsoft.com/office/drawing/2014/main" id="{D06C11B3-60F2-3346-98A0-2890EEB0B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080" y="473751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5" name="Espace réservé du texte 13">
            <a:extLst>
              <a:ext uri="{FF2B5EF4-FFF2-40B4-BE49-F238E27FC236}">
                <a16:creationId xmlns:a16="http://schemas.microsoft.com/office/drawing/2014/main" id="{7A0E3223-17D2-3E46-BA7B-EE9BA1293F6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9167" y="553411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7" name="Espace réservé du texte 9">
            <a:extLst>
              <a:ext uri="{FF2B5EF4-FFF2-40B4-BE49-F238E27FC236}">
                <a16:creationId xmlns:a16="http://schemas.microsoft.com/office/drawing/2014/main" id="{214413A7-A008-294C-A925-6007D53C3D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787" y="1199098"/>
            <a:ext cx="2000333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>
              <a:lnSpc>
                <a:spcPct val="120000"/>
              </a:lnSpc>
            </a:pPr>
            <a:r>
              <a:rPr lang="fr-FR" sz="1108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PANY</a:t>
            </a:r>
          </a:p>
        </p:txBody>
      </p:sp>
      <p:sp>
        <p:nvSpPr>
          <p:cNvPr id="38" name="Espace réservé du texte 9">
            <a:extLst>
              <a:ext uri="{FF2B5EF4-FFF2-40B4-BE49-F238E27FC236}">
                <a16:creationId xmlns:a16="http://schemas.microsoft.com/office/drawing/2014/main" id="{88C8CA68-F69E-E14D-A0D9-378FCD9E72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2957" y="1218234"/>
            <a:ext cx="2000333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>
              <a:lnSpc>
                <a:spcPct val="120000"/>
              </a:lnSpc>
            </a:pPr>
            <a:r>
              <a:rPr lang="fr-FR" sz="1108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SIGNMENT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D2CD39D7-5ECB-F645-8460-FDC18F7033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21394" y="1617024"/>
            <a:ext cx="5944839" cy="3238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  <a:p>
            <a:pPr lvl="1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uxième niveau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E6EAAB33-846F-764C-839C-924D28A1509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21394" y="2027129"/>
            <a:ext cx="5944839" cy="72067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ACF3FFD9-C7DF-0E4F-83A4-94722E9B3C5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1394" y="2834499"/>
            <a:ext cx="5944839" cy="2836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175AEE5F-9FCB-9642-B78A-B441A1FCA4E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21394" y="3226917"/>
            <a:ext cx="5944839" cy="59440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91724ADA-78A3-D34C-A990-80C57A22F1A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1394" y="3897053"/>
            <a:ext cx="5944839" cy="6994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4FEE905C-078F-4143-B1FA-F4C0F84FF77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11463" y="4737513"/>
            <a:ext cx="5944839" cy="6994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8E7BA8A4-497A-B346-957D-AF0EB2C9A2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10369" y="5534112"/>
            <a:ext cx="5944839" cy="5951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2FC9DD98-0381-934A-A9E7-12E171788C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9AB3AC1-B3F7-CA48-9399-6ACAEBF85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661180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6F606EC-E71D-4DE7-8189-E0E12E53C37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3774373" y="-11430"/>
            <a:ext cx="5369627" cy="6869430"/>
          </a:xfrm>
          <a:custGeom>
            <a:avLst/>
            <a:gdLst>
              <a:gd name="connsiteX0" fmla="*/ 4560570 w 7155180"/>
              <a:gd name="connsiteY0" fmla="*/ 0 h 6880860"/>
              <a:gd name="connsiteX1" fmla="*/ 7155180 w 7155180"/>
              <a:gd name="connsiteY1" fmla="*/ 6880860 h 6880860"/>
              <a:gd name="connsiteX2" fmla="*/ 0 w 7155180"/>
              <a:gd name="connsiteY2" fmla="*/ 6869430 h 6880860"/>
              <a:gd name="connsiteX3" fmla="*/ 0 w 7155180"/>
              <a:gd name="connsiteY3" fmla="*/ 11430 h 6880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5180" h="6880860">
                <a:moveTo>
                  <a:pt x="4560570" y="0"/>
                </a:moveTo>
                <a:lnTo>
                  <a:pt x="7155180" y="6880860"/>
                </a:lnTo>
                <a:lnTo>
                  <a:pt x="0" y="6869430"/>
                </a:lnTo>
                <a:lnTo>
                  <a:pt x="0" y="114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9297184-CA0B-CF43-B975-F6A3FE634E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4584124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351E436-F6B3-DF4B-B106-DB94F8F80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4617358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7E134F-66E9-654A-B1FF-C2C536030585}"/>
              </a:ext>
            </a:extLst>
          </p:cNvPr>
          <p:cNvSpPr/>
          <p:nvPr/>
        </p:nvSpPr>
        <p:spPr>
          <a:xfrm>
            <a:off x="151817" y="6201308"/>
            <a:ext cx="598220" cy="5760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62" b="0" i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758920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s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ADED4126-C3FB-4228-97BE-05DDB013385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619632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8C575F5B-47F4-43B4-8AEB-2C42B3AFFE5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39189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1C85F41-E610-4A01-A3BB-97AFA751CA2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658744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CA4950EE-8961-4BD5-BD35-95E34189F01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0075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7AB1CF83-5012-4FCA-8355-CACD6BDB102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619632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A705D39-1F6E-461A-9C0B-1B74EA88E5C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39189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D40A2BFA-FA23-4DB9-A4D1-00FD102CE6E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658744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48D6C942-265D-41F7-8402-B78250CD59C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0075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26DADD1-11D8-7344-AB73-C218377EF0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66C6162E-9289-4848-8AAF-A36BA4C7FA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3C75CC7-9AD0-6D4E-9018-B723395BC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995791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EABAA97-BBF4-4E00-BAFD-36622F484FD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3964" y="1488249"/>
            <a:ext cx="3665269" cy="2145730"/>
          </a:xfrm>
          <a:custGeom>
            <a:avLst/>
            <a:gdLst>
              <a:gd name="connsiteX0" fmla="*/ 0 w 4887025"/>
              <a:gd name="connsiteY0" fmla="*/ 0 h 2145730"/>
              <a:gd name="connsiteX1" fmla="*/ 4887025 w 4887025"/>
              <a:gd name="connsiteY1" fmla="*/ 0 h 2145730"/>
              <a:gd name="connsiteX2" fmla="*/ 4887025 w 4887025"/>
              <a:gd name="connsiteY2" fmla="*/ 2145730 h 2145730"/>
              <a:gd name="connsiteX3" fmla="*/ 0 w 4887025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025" h="2145730">
                <a:moveTo>
                  <a:pt x="0" y="0"/>
                </a:moveTo>
                <a:lnTo>
                  <a:pt x="4887025" y="0"/>
                </a:lnTo>
                <a:lnTo>
                  <a:pt x="4887025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277ECAD-C044-40C9-8E2C-E49BC76AC60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64770" y="1488248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53108A3-63E7-45B1-840D-C1244CC8C53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0172" y="1488247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4F9421AD-0756-485F-ACB9-6DC303DB292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3963" y="3861050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8E13A1C8-E6F6-4031-9585-0087F0F631C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739365" y="3861049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20D6C4B0-49C9-4599-B994-8B2758DC727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64766" y="3861048"/>
            <a:ext cx="3665271" cy="2145730"/>
          </a:xfrm>
          <a:custGeom>
            <a:avLst/>
            <a:gdLst>
              <a:gd name="connsiteX0" fmla="*/ 0 w 4887028"/>
              <a:gd name="connsiteY0" fmla="*/ 0 h 2145730"/>
              <a:gd name="connsiteX1" fmla="*/ 4887028 w 4887028"/>
              <a:gd name="connsiteY1" fmla="*/ 0 h 2145730"/>
              <a:gd name="connsiteX2" fmla="*/ 4887028 w 4887028"/>
              <a:gd name="connsiteY2" fmla="*/ 2145730 h 2145730"/>
              <a:gd name="connsiteX3" fmla="*/ 0 w 4887028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028" h="2145730">
                <a:moveTo>
                  <a:pt x="0" y="0"/>
                </a:moveTo>
                <a:lnTo>
                  <a:pt x="4887028" y="0"/>
                </a:lnTo>
                <a:lnTo>
                  <a:pt x="4887028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B42F81C-5859-F145-9D59-2CB333F7E9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C5DBA548-1EE0-3B4D-926E-24DEAFCCE5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3D39B4B-A3A9-2249-BAA2-0090D48A7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66411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pic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4F69C54-690D-7749-AB37-BE76AA1C3AD9}"/>
              </a:ext>
            </a:extLst>
          </p:cNvPr>
          <p:cNvSpPr/>
          <p:nvPr/>
        </p:nvSpPr>
        <p:spPr>
          <a:xfrm>
            <a:off x="3242622" y="6309320"/>
            <a:ext cx="2625522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62" b="0" i="0">
                <a:latin typeface="Segoe UI Light" panose="020B0502040204020203" pitchFamily="34" charset="0"/>
              </a:rPr>
              <a:t>v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79E6F81-F76C-4418-A71F-948B5A1731D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181290" y="-2"/>
            <a:ext cx="1965770" cy="6858002"/>
          </a:xfrm>
          <a:custGeom>
            <a:avLst/>
            <a:gdLst>
              <a:gd name="connsiteX0" fmla="*/ 0 w 2621027"/>
              <a:gd name="connsiteY0" fmla="*/ 0 h 6858002"/>
              <a:gd name="connsiteX1" fmla="*/ 2621027 w 2621027"/>
              <a:gd name="connsiteY1" fmla="*/ 0 h 6858002"/>
              <a:gd name="connsiteX2" fmla="*/ 2621027 w 2621027"/>
              <a:gd name="connsiteY2" fmla="*/ 6858002 h 6858002"/>
              <a:gd name="connsiteX3" fmla="*/ 0 w 2621027"/>
              <a:gd name="connsiteY3" fmla="*/ 6858002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1027" h="6858002">
                <a:moveTo>
                  <a:pt x="0" y="0"/>
                </a:moveTo>
                <a:lnTo>
                  <a:pt x="2621027" y="0"/>
                </a:lnTo>
                <a:lnTo>
                  <a:pt x="2621027" y="6858002"/>
                </a:lnTo>
                <a:lnTo>
                  <a:pt x="0" y="685800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DC8EFB7-B364-47A2-AEDC-00960DD8AF2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9408" y="0"/>
            <a:ext cx="2017697" cy="3384330"/>
          </a:xfrm>
          <a:custGeom>
            <a:avLst/>
            <a:gdLst>
              <a:gd name="connsiteX0" fmla="*/ 0 w 2690262"/>
              <a:gd name="connsiteY0" fmla="*/ 0 h 3384330"/>
              <a:gd name="connsiteX1" fmla="*/ 2690262 w 2690262"/>
              <a:gd name="connsiteY1" fmla="*/ 0 h 3384330"/>
              <a:gd name="connsiteX2" fmla="*/ 2690262 w 2690262"/>
              <a:gd name="connsiteY2" fmla="*/ 3384330 h 3384330"/>
              <a:gd name="connsiteX3" fmla="*/ 0 w 2690262"/>
              <a:gd name="connsiteY3" fmla="*/ 3384330 h 338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0262" h="3384330">
                <a:moveTo>
                  <a:pt x="0" y="0"/>
                </a:moveTo>
                <a:lnTo>
                  <a:pt x="2690262" y="0"/>
                </a:lnTo>
                <a:lnTo>
                  <a:pt x="2690262" y="3384330"/>
                </a:lnTo>
                <a:lnTo>
                  <a:pt x="0" y="3384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7513B07-4A69-47F3-BF43-6384706963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089408" y="3473670"/>
            <a:ext cx="2017697" cy="3384330"/>
          </a:xfrm>
          <a:custGeom>
            <a:avLst/>
            <a:gdLst>
              <a:gd name="connsiteX0" fmla="*/ 0 w 2690262"/>
              <a:gd name="connsiteY0" fmla="*/ 0 h 3384330"/>
              <a:gd name="connsiteX1" fmla="*/ 2690262 w 2690262"/>
              <a:gd name="connsiteY1" fmla="*/ 0 h 3384330"/>
              <a:gd name="connsiteX2" fmla="*/ 2690262 w 2690262"/>
              <a:gd name="connsiteY2" fmla="*/ 3384330 h 3384330"/>
              <a:gd name="connsiteX3" fmla="*/ 0 w 2690262"/>
              <a:gd name="connsiteY3" fmla="*/ 3384330 h 338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0262" h="3384330">
                <a:moveTo>
                  <a:pt x="0" y="0"/>
                </a:moveTo>
                <a:lnTo>
                  <a:pt x="2690262" y="0"/>
                </a:lnTo>
                <a:lnTo>
                  <a:pt x="2690262" y="3384330"/>
                </a:lnTo>
                <a:lnTo>
                  <a:pt x="0" y="3384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F52C1A-C3CD-CA46-97CD-B7F0893FC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38862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0E22066D-59D7-954A-9A1E-036E327370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FA4B261-A6C0-CC46-8542-291E88297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76480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pics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DAA3CD-5647-F14F-A7B8-B88059DA9B43}"/>
              </a:ext>
            </a:extLst>
          </p:cNvPr>
          <p:cNvSpPr/>
          <p:nvPr/>
        </p:nvSpPr>
        <p:spPr>
          <a:xfrm>
            <a:off x="3242622" y="6309320"/>
            <a:ext cx="2625522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62" b="0" i="0">
                <a:latin typeface="Segoe UI Light" panose="020B0502040204020203" pitchFamily="34" charset="0"/>
              </a:rPr>
              <a:t>v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434CB8D0-D59C-4D68-81E3-A6D1431A71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95260" y="164388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C87BC13F-0E4D-4CE6-90A9-DFA22DE9CD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95260" y="2219221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D0B65217-5749-46F0-8CAB-6D71279DE44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95261" y="4274050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E13CF094-A329-4D2A-9DFD-3D9EB3B314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47533" y="164386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B56F9E2F-4FDB-4DBD-B223-674B1324199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47533" y="2746705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4FEEE239-474C-45B0-8624-C52E411800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47533" y="4799905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0A0FDDBC-9764-435B-9487-94326EB8A0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98845" y="164388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90EE34F-0B03-47CF-BC9F-4BC9A0D445A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98845" y="2219220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57BBAAE-8ACB-446E-8349-A7EA1DD074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98845" y="4274050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EF87CBF-E2CB-9A42-8134-29D298E24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2556822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3AC5BD6-EE41-334A-8DC5-5AD0B4ACD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C384C370-E765-884A-B453-D3AFF5C4E2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87552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bat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DC2A07F-A71C-4649-A0BD-EB51EB58FA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587" y="1268413"/>
            <a:ext cx="2624503" cy="39243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F72A3E-7267-C741-9065-F5931E1FD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BE5E838-2D41-074D-80EE-4F993E6E49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728700"/>
            <a:ext cx="2556822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9CA01C99-3F22-2549-AE67-B742C6CA35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60648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173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5927FC9-AFBA-4533-BCE9-BF2203BFF6ED}"/>
              </a:ext>
            </a:extLst>
          </p:cNvPr>
          <p:cNvCxnSpPr>
            <a:cxnSpLocks/>
          </p:cNvCxnSpPr>
          <p:nvPr userDrawn="1"/>
        </p:nvCxnSpPr>
        <p:spPr>
          <a:xfrm>
            <a:off x="327259" y="683400"/>
            <a:ext cx="0" cy="317630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0" y="654525"/>
            <a:ext cx="8528013" cy="385003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ECA01A5-9C59-4784-BBEC-6A9AE46AA63E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6" y="241252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10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641320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9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C0D204FE-FE6B-4844-AAAA-44AD6ABCD3D1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264113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9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4CFA60C5-EEF6-48FC-BB4B-3D6FF725B63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2716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9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6B92C14B-F92C-4DC7-B9B0-1F148CA7590E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329924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9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115953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320670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1477" b="0" i="0" baseline="0">
              <a:latin typeface="Segoe UI" panose="020B0502040204020203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id="{B91C5F77-F5BB-4753-B200-70E9F2477A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11769" y="6407719"/>
            <a:ext cx="976267" cy="301756"/>
          </a:xfrm>
          <a:prstGeom prst="rect">
            <a:avLst/>
          </a:prstGeom>
        </p:spPr>
        <p:txBody>
          <a:bodyPr anchor="ctr"/>
          <a:lstStyle>
            <a:lvl1pPr algn="ctr">
              <a:defRPr sz="10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C90B2B3-5D04-4D90-8340-AE1A8DEC9546}" type="datetime1">
              <a:rPr lang="fr-FR" smtClean="0"/>
              <a:t>09/11/2022</a:t>
            </a:fld>
            <a:endParaRPr lang="fr-FR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1FAE3667-EB04-45DD-B79A-6B681E86A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4247" y="6407719"/>
            <a:ext cx="5055507" cy="301756"/>
          </a:xfrm>
          <a:prstGeom prst="rect">
            <a:avLst/>
          </a:prstGeom>
        </p:spPr>
        <p:txBody>
          <a:bodyPr anchor="ctr"/>
          <a:lstStyle>
            <a:lvl1pPr algn="ctr">
              <a:defRPr sz="10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/>
              <a:t>© 2019 – Exécution du marché conseil en stratégie N°615186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EC5745F2-CAB9-4626-9D96-F502EE4C6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05836" y="6407719"/>
            <a:ext cx="520176" cy="301756"/>
          </a:xfrm>
          <a:prstGeom prst="rect">
            <a:avLst/>
          </a:prstGeom>
        </p:spPr>
        <p:txBody>
          <a:bodyPr rIns="0" anchor="ctr"/>
          <a:lstStyle>
            <a:lvl1pPr algn="r">
              <a:defRPr sz="1015" b="0">
                <a:solidFill>
                  <a:schemeClr val="tx2"/>
                </a:solidFill>
              </a:defRPr>
            </a:lvl1pPr>
          </a:lstStyle>
          <a:p>
            <a:fld id="{5B4B94EB-EA19-4609-98BF-9B9B2F67486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6E3F56A-B978-4FC8-BBBC-E2513A549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989" y="260350"/>
            <a:ext cx="8508023" cy="406400"/>
          </a:xfrm>
        </p:spPr>
        <p:txBody>
          <a:bodyPr anchor="b">
            <a:normAutofit/>
          </a:bodyPr>
          <a:lstStyle>
            <a:lvl1pPr>
              <a:defRPr sz="1477" b="1"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2410BE33-DA7F-41D2-BB8A-AF34FCAD45D0}"/>
              </a:ext>
            </a:extLst>
          </p:cNvPr>
          <p:cNvCxnSpPr/>
          <p:nvPr userDrawn="1"/>
        </p:nvCxnSpPr>
        <p:spPr>
          <a:xfrm>
            <a:off x="317989" y="693420"/>
            <a:ext cx="30099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DD66314-9254-4080-8ACA-D2FCC8B073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7989" y="981075"/>
            <a:ext cx="8508023" cy="5219700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4840728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5927FC9-AFBA-4533-BCE9-BF2203BFF6ED}"/>
              </a:ext>
            </a:extLst>
          </p:cNvPr>
          <p:cNvCxnSpPr>
            <a:cxnSpLocks/>
          </p:cNvCxnSpPr>
          <p:nvPr userDrawn="1"/>
        </p:nvCxnSpPr>
        <p:spPr>
          <a:xfrm>
            <a:off x="327259" y="683400"/>
            <a:ext cx="0" cy="317630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528013" cy="385003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ECA01A5-9C59-4784-BBEC-6A9AE46AA63E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641320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C0D204FE-FE6B-4844-AAAA-44AD6ABCD3D1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264113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4CFA60C5-EEF6-48FC-BB4B-3D6FF725B63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2716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6B92C14B-F92C-4DC7-B9B0-1F148CA7590E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329924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507516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0092F912-B3BA-45C5-BF3C-316DEE7081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43"/>
            <a:ext cx="9144000" cy="6858000"/>
          </a:xfrm>
          <a:prstGeom prst="rect">
            <a:avLst/>
          </a:prstGeom>
        </p:spPr>
      </p:pic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6BD64E6-7D0A-4CB2-A9C7-EC804AEDB7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4596" y="2059806"/>
            <a:ext cx="5091113" cy="15682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954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u document</a:t>
            </a:r>
          </a:p>
          <a:p>
            <a:pPr lvl="0"/>
            <a:r>
              <a:rPr lang="fr-FR"/>
              <a:t>Sur une ou plusieurs</a:t>
            </a:r>
          </a:p>
          <a:p>
            <a:pPr lvl="0"/>
            <a:r>
              <a:rPr lang="fr-FR"/>
              <a:t>lign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22ABB55-29A3-480E-8119-2AE2E5461AAC}"/>
              </a:ext>
            </a:extLst>
          </p:cNvPr>
          <p:cNvSpPr txBox="1"/>
          <p:nvPr userDrawn="1"/>
        </p:nvSpPr>
        <p:spPr>
          <a:xfrm>
            <a:off x="3224596" y="3570257"/>
            <a:ext cx="2545556" cy="433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215" b="1"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5C9E19A4-BD56-40B1-9317-DB94B234F8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4596" y="3974173"/>
            <a:ext cx="5091113" cy="857711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769" b="0">
                <a:solidFill>
                  <a:srgbClr val="64B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-Titre ou date</a:t>
            </a:r>
          </a:p>
        </p:txBody>
      </p:sp>
    </p:spTree>
    <p:extLst>
      <p:ext uri="{BB962C8B-B14F-4D97-AF65-F5344CB8AC3E}">
        <p14:creationId xmlns:p14="http://schemas.microsoft.com/office/powerpoint/2010/main" val="6686524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8127457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65403603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B04862A-A275-4962-837D-438AAAF79A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3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197415208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15DC091-25E3-4F9C-B34E-AA51D7B4FFF2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00475808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00725085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B04862A-A275-4962-837D-438AAAF79A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6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85969846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15DC091-25E3-4F9C-B34E-AA51D7B4FFF2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0117825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6" y="241252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10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23D136EC-68F7-40A4-B62E-3FB85FCAA0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8975" y="1892715"/>
            <a:ext cx="4055418" cy="4162009"/>
          </a:xfrm>
        </p:spPr>
        <p:txBody>
          <a:bodyPr>
            <a:normAutofit/>
          </a:bodyPr>
          <a:lstStyle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AF82D6C-05AD-4A3B-9A0F-7E99EA669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7289" y="1892714"/>
            <a:ext cx="4055418" cy="4162009"/>
          </a:xfrm>
        </p:spPr>
        <p:txBody>
          <a:bodyPr>
            <a:normAutofit/>
          </a:bodyPr>
          <a:lstStyle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37DC2DC6-55F2-46F5-B80E-6BBD9A4A51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8975" y="1315261"/>
            <a:ext cx="401239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ED96272C-C29E-4B8F-8073-992D8FBE75D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821464" y="1315261"/>
            <a:ext cx="3995278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D632AA5-753E-4916-A319-0A6C615E0C6D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9CC12674-EC59-4076-8219-D2C1A0BCF719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9FA4E1DF-DD69-44BB-9121-48D12C0E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410447356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8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312000407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23D136EC-68F7-40A4-B62E-3FB85FCAA0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100" y="1884227"/>
            <a:ext cx="2765726" cy="4162009"/>
          </a:xfrm>
        </p:spPr>
        <p:txBody>
          <a:bodyPr>
            <a:normAutofit/>
          </a:bodyPr>
          <a:lstStyle>
            <a:lvl1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22041" indent="0">
              <a:buNone/>
              <a:defRPr sz="1108">
                <a:latin typeface="+mj-lt"/>
                <a:cs typeface="Calibri" panose="020F0502020204030204" pitchFamily="34" charset="0"/>
              </a:defRPr>
            </a:lvl2pPr>
            <a:lvl3pPr>
              <a:defRPr sz="1015">
                <a:latin typeface="+mj-lt"/>
                <a:cs typeface="Calibri" panose="020F0502020204030204" pitchFamily="34" charset="0"/>
              </a:defRPr>
            </a:lvl3pPr>
            <a:lvl4pPr>
              <a:defRPr sz="969">
                <a:latin typeface="+mj-lt"/>
                <a:cs typeface="Calibri" panose="020F0502020204030204" pitchFamily="34" charset="0"/>
              </a:defRPr>
            </a:lvl4pPr>
            <a:lvl5pPr>
              <a:defRPr sz="969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37DC2DC6-55F2-46F5-B80E-6BBD9A4A51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53246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292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56100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292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AD65204-B0CB-4991-8B0C-B9746E3D22B7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150391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292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9B9BB416-C38E-4CBD-A8EC-4331FBE8150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50391" y="1892716"/>
            <a:ext cx="2765726" cy="4162009"/>
          </a:xfrm>
        </p:spPr>
        <p:txBody>
          <a:bodyPr>
            <a:normAutofit/>
          </a:bodyPr>
          <a:lstStyle>
            <a:lvl1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+mj-lt"/>
                <a:cs typeface="Calibri" panose="020F0502020204030204" pitchFamily="34" charset="0"/>
              </a:defRPr>
            </a:lvl2pPr>
            <a:lvl3pPr>
              <a:defRPr sz="1015">
                <a:latin typeface="+mj-lt"/>
                <a:cs typeface="Calibri" panose="020F0502020204030204" pitchFamily="34" charset="0"/>
              </a:defRPr>
            </a:lvl3pPr>
            <a:lvl4pPr>
              <a:defRPr sz="969">
                <a:latin typeface="+mj-lt"/>
                <a:cs typeface="Calibri" panose="020F0502020204030204" pitchFamily="34" charset="0"/>
              </a:defRPr>
            </a:lvl4pPr>
            <a:lvl5pPr>
              <a:defRPr sz="969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5F790E96-9E07-46C7-BB7B-B97CB5326FD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74226" y="1892716"/>
            <a:ext cx="2765726" cy="4162009"/>
          </a:xfrm>
        </p:spPr>
        <p:txBody>
          <a:bodyPr>
            <a:normAutofit/>
          </a:bodyPr>
          <a:lstStyle>
            <a:lvl1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+mj-lt"/>
                <a:cs typeface="Calibri" panose="020F0502020204030204" pitchFamily="34" charset="0"/>
              </a:defRPr>
            </a:lvl2pPr>
            <a:lvl3pPr>
              <a:defRPr sz="1015">
                <a:latin typeface="+mj-lt"/>
                <a:cs typeface="Calibri" panose="020F0502020204030204" pitchFamily="34" charset="0"/>
              </a:defRPr>
            </a:lvl3pPr>
            <a:lvl4pPr>
              <a:defRPr sz="969">
                <a:latin typeface="+mj-lt"/>
                <a:cs typeface="Calibri" panose="020F0502020204030204" pitchFamily="34" charset="0"/>
              </a:defRPr>
            </a:lvl4pPr>
            <a:lvl5pPr>
              <a:defRPr sz="969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524F7423-5AA9-41B0-AC88-72E5CE075E95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79200EC6-7668-4554-BA1F-8FB9F3D0AA89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057BEAD0-7179-4613-8BBF-D38D717B07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329527819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5927FC9-AFBA-4533-BCE9-BF2203BFF6ED}"/>
              </a:ext>
            </a:extLst>
          </p:cNvPr>
          <p:cNvCxnSpPr>
            <a:cxnSpLocks/>
          </p:cNvCxnSpPr>
          <p:nvPr userDrawn="1"/>
        </p:nvCxnSpPr>
        <p:spPr>
          <a:xfrm>
            <a:off x="327259" y="683400"/>
            <a:ext cx="0" cy="317630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528013" cy="385003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ECA01A5-9C59-4784-BBEC-6A9AE46AA63E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pic>
        <p:nvPicPr>
          <p:cNvPr id="25" name="Picture 1" descr="K:\A - Kit présentations\4 - Charte VERTONE et icones\Logo\1 - Nouveau logo 2011\VERTONE_logo3_SD-01.gif">
            <a:extLst>
              <a:ext uri="{FF2B5EF4-FFF2-40B4-BE49-F238E27FC236}">
                <a16:creationId xmlns:a16="http://schemas.microsoft.com/office/drawing/2014/main" id="{034C2EA5-AA95-42FD-BB85-7586551346B5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259" y="6575623"/>
            <a:ext cx="789558" cy="117561"/>
          </a:xfrm>
          <a:prstGeom prst="rect">
            <a:avLst/>
          </a:prstGeom>
          <a:noFill/>
        </p:spPr>
      </p:pic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641320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C0D204FE-FE6B-4844-AAAA-44AD6ABCD3D1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264113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4CFA60C5-EEF6-48FC-BB4B-3D6FF725B63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2716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6B92C14B-F92C-4DC7-B9B0-1F148CA7590E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329924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412986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23D136EC-68F7-40A4-B62E-3FB85FCAA0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8975" y="1892717"/>
            <a:ext cx="4055418" cy="4162009"/>
          </a:xfrm>
        </p:spPr>
        <p:txBody>
          <a:bodyPr>
            <a:normAutofit/>
          </a:bodyPr>
          <a:lstStyle>
            <a:lvl1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AF82D6C-05AD-4A3B-9A0F-7E99EA669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7289" y="1892716"/>
            <a:ext cx="4055418" cy="4162009"/>
          </a:xfrm>
        </p:spPr>
        <p:txBody>
          <a:bodyPr>
            <a:normAutofit/>
          </a:bodyPr>
          <a:lstStyle>
            <a:lvl1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37DC2DC6-55F2-46F5-B80E-6BBD9A4A51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8975" y="1315261"/>
            <a:ext cx="401239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477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ED96272C-C29E-4B8F-8073-992D8FBE75D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821464" y="1315261"/>
            <a:ext cx="3995278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477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D632AA5-753E-4916-A319-0A6C615E0C6D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9CC12674-EC59-4076-8219-D2C1A0BCF719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9FA4E1DF-DD69-44BB-9121-48D12C0E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77147641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764505" y="1496755"/>
            <a:ext cx="4052470" cy="45579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779E4D4-BDB8-478E-A8E1-9F7D943117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1" y="1496788"/>
            <a:ext cx="4254365" cy="4557936"/>
          </a:xfrm>
        </p:spPr>
        <p:txBody>
          <a:bodyPr>
            <a:normAutofit/>
          </a:bodyPr>
          <a:lstStyle>
            <a:lvl1pPr>
              <a:defRPr sz="1477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65CF8628-91D6-4E9B-8967-4C8B279A254D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76934DA3-D27C-46C2-8B71-5BBBF81B4296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093E479F-49BA-4ED5-8CCE-A54EAD6019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05383518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31D465F2-425C-4D30-8465-DB3FF4C160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101" y="5601904"/>
            <a:ext cx="8460640" cy="452389"/>
          </a:xfrm>
        </p:spPr>
        <p:txBody>
          <a:bodyPr>
            <a:normAutofit/>
          </a:bodyPr>
          <a:lstStyle>
            <a:lvl1pPr marL="0" indent="0">
              <a:buNone/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7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Insérer ici la légend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7259" y="1222376"/>
            <a:ext cx="8489716" cy="42062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C10C022-5075-4122-8A74-4E8549572827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07EC75A-ADBD-454D-A76D-CB2F9FAB04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411" y="275797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8B36222-61E8-4AAF-A7B6-6587311797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2" name="Espace réservé du numéro de diapositive 6">
            <a:extLst>
              <a:ext uri="{FF2B5EF4-FFF2-40B4-BE49-F238E27FC236}">
                <a16:creationId xmlns:a16="http://schemas.microsoft.com/office/drawing/2014/main" id="{0C00F324-1AA0-4A39-AB49-44BCCA061610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pic>
        <p:nvPicPr>
          <p:cNvPr id="13" name="Picture 1" descr="K:\A - Kit présentations\4 - Charte VERTONE et icones\Logo\1 - Nouveau logo 2011\VERTONE_logo3_SD-01.gif">
            <a:extLst>
              <a:ext uri="{FF2B5EF4-FFF2-40B4-BE49-F238E27FC236}">
                <a16:creationId xmlns:a16="http://schemas.microsoft.com/office/drawing/2014/main" id="{30CA863F-B4E9-460D-8B96-60117E878A4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259" y="6575623"/>
            <a:ext cx="789558" cy="117561"/>
          </a:xfrm>
          <a:prstGeom prst="rect">
            <a:avLst/>
          </a:prstGeom>
          <a:noFill/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73D097ED-A4DB-4B51-9E95-060FD94CED29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4784FB27-F38F-4309-83E6-84A9FFD77256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329876F9-07D9-4A16-ADED-E0654F766D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35420415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56FD2439-64DA-45E7-AD7E-3AFEB4F6F8FA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B46104AB-D2FF-413D-B669-CFF0A34C7A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91750D94-AFF6-4983-82C0-6A78F55646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D6108724-3766-474E-BB52-AA12F8FDA54D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9" name="Parenthèses 8">
            <a:extLst>
              <a:ext uri="{FF2B5EF4-FFF2-40B4-BE49-F238E27FC236}">
                <a16:creationId xmlns:a16="http://schemas.microsoft.com/office/drawing/2014/main" id="{C3B1287E-4B2B-4AF7-BAA1-999B9F536A2E}"/>
              </a:ext>
            </a:extLst>
          </p:cNvPr>
          <p:cNvSpPr/>
          <p:nvPr userDrawn="1"/>
        </p:nvSpPr>
        <p:spPr>
          <a:xfrm rot="390995">
            <a:off x="7082794" y="193665"/>
            <a:ext cx="1836000" cy="246408"/>
          </a:xfrm>
          <a:prstGeom prst="bracketPair">
            <a:avLst/>
          </a:prstGeom>
          <a:solidFill>
            <a:srgbClr val="FFC5C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8">
                <a:solidFill>
                  <a:srgbClr val="FF0000"/>
                </a:solidFill>
              </a:rPr>
              <a:t>Version de travail</a:t>
            </a:r>
          </a:p>
        </p:txBody>
      </p:sp>
    </p:spTree>
    <p:extLst>
      <p:ext uri="{BB962C8B-B14F-4D97-AF65-F5344CB8AC3E}">
        <p14:creationId xmlns:p14="http://schemas.microsoft.com/office/powerpoint/2010/main" val="390627586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AEC7BF55-A16A-49C1-AE68-02E80A567E01}"/>
              </a:ext>
            </a:extLst>
          </p:cNvPr>
          <p:cNvCxnSpPr/>
          <p:nvPr userDrawn="1"/>
        </p:nvCxnSpPr>
        <p:spPr>
          <a:xfrm>
            <a:off x="327260" y="52544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219589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EB5686E0-D12E-4E20-B4BD-F9E63E0B5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460640" cy="38500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215" b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29C038B-63C9-41DE-8C9D-07E34B585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0" y="1222413"/>
            <a:ext cx="8556857" cy="48323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46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77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E3214949-0725-4429-9BDC-4624A0D0BD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- </a:t>
            </a:r>
            <a:fld id="{14A67E6E-0755-44ED-AC21-3B9DF6D2C900}" type="slidenum">
              <a:rPr lang="fr-FR" smtClean="0"/>
              <a:t>‹N°›</a:t>
            </a:fld>
            <a:r>
              <a:rPr lang="fr-FR"/>
              <a:t> -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C935C2CC-C68B-4CBC-8511-CB192F8D0099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175084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460640" cy="38500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215" b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31D465F2-425C-4D30-8465-DB3FF4C160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101" y="5601904"/>
            <a:ext cx="8460640" cy="452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7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Insérer ici la légend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7259" y="1222376"/>
            <a:ext cx="8489716" cy="4206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07EC75A-ADBD-454D-A76D-CB2F9FAB04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8D081CFA-44B1-4E62-831F-6DA15E6E7E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- </a:t>
            </a:r>
            <a:fld id="{32542D6D-A1A3-47CA-B985-9FACF2720559}" type="slidenum">
              <a:rPr lang="fr-FR" smtClean="0"/>
              <a:pPr/>
              <a:t>‹N°›</a:t>
            </a:fld>
            <a:r>
              <a:rPr lang="fr-F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806842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764505" y="1496753"/>
            <a:ext cx="4052470" cy="45579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6" y="241252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10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779E4D4-BDB8-478E-A8E1-9F7D943117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0" y="1496788"/>
            <a:ext cx="4254365" cy="4557936"/>
          </a:xfrm>
        </p:spPr>
        <p:txBody>
          <a:bodyPr>
            <a:normAutofit/>
          </a:bodyPr>
          <a:lstStyle>
            <a:lvl1pPr>
              <a:defRPr sz="16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65CF8628-91D6-4E9B-8967-4C8B279A254D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76934DA3-D27C-46C2-8B71-5BBBF81B4296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093E479F-49BA-4ED5-8CCE-A54EAD6019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38862858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460640" cy="3850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31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764505" y="1222375"/>
            <a:ext cx="4052470" cy="4832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779E4D4-BDB8-478E-A8E1-9F7D943117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1" y="1222413"/>
            <a:ext cx="4254365" cy="48323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46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77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FD5281FC-DEA9-426C-86E2-9E3DB2D08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- </a:t>
            </a:r>
            <a:fld id="{32542D6D-A1A3-47CA-B985-9FACF2720559}" type="slidenum">
              <a:rPr lang="fr-FR" smtClean="0"/>
              <a:pPr/>
              <a:t>‹N°›</a:t>
            </a:fld>
            <a:r>
              <a:rPr lang="fr-F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09428442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56FD2439-64DA-45E7-AD7E-3AFEB4F6F8FA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B46104AB-D2FF-413D-B669-CFF0A34C7A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7" name="Espace réservé du pied de page 2">
            <a:extLst>
              <a:ext uri="{FF2B5EF4-FFF2-40B4-BE49-F238E27FC236}">
                <a16:creationId xmlns:a16="http://schemas.microsoft.com/office/drawing/2014/main" id="{83BB463B-8150-4CB4-AD71-8446D1DFCD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- </a:t>
            </a:r>
            <a:fld id="{32542D6D-A1A3-47CA-B985-9FACF2720559}" type="slidenum">
              <a:rPr lang="fr-FR" smtClean="0"/>
              <a:pPr/>
              <a:t>‹N°›</a:t>
            </a:fld>
            <a:r>
              <a:rPr lang="fr-F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54138013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9AF36373-29E5-4E52-91A9-4653A72D1DBE}"/>
              </a:ext>
            </a:extLst>
          </p:cNvPr>
          <p:cNvCxnSpPr/>
          <p:nvPr userDrawn="1"/>
        </p:nvCxnSpPr>
        <p:spPr>
          <a:xfrm>
            <a:off x="327261" y="519766"/>
            <a:ext cx="8489482" cy="0"/>
          </a:xfrm>
          <a:prstGeom prst="line">
            <a:avLst/>
          </a:prstGeom>
          <a:ln>
            <a:solidFill>
              <a:srgbClr val="6EB8E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29C038B-63C9-41DE-8C9D-07E34B585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2" y="1222415"/>
            <a:ext cx="8556857" cy="4832313"/>
          </a:xfrm>
        </p:spPr>
        <p:txBody>
          <a:bodyPr>
            <a:normAutofit/>
          </a:bodyPr>
          <a:lstStyle>
            <a:lvl1pPr>
              <a:defRPr sz="1385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46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38611836"/>
      </p:ext>
    </p:extLst>
  </p:cSld>
  <p:clrMapOvr>
    <a:masterClrMapping/>
  </p:clrMapOvr>
  <p:hf hdr="0" ftr="0" dt="0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6294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91750D94-AFF6-4983-82C0-6A78F55646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D6108724-3766-474E-BB52-AA12F8FDA54D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71178A14-599C-45D9-9BF0-1765FB3E4946}"/>
              </a:ext>
            </a:extLst>
          </p:cNvPr>
          <p:cNvCxnSpPr/>
          <p:nvPr userDrawn="1"/>
        </p:nvCxnSpPr>
        <p:spPr>
          <a:xfrm>
            <a:off x="341680" y="1025953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518260E-717C-49B2-B426-FB3B8405D2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522" y="133763"/>
            <a:ext cx="8460640" cy="888040"/>
          </a:xfrm>
        </p:spPr>
        <p:txBody>
          <a:bodyPr anchor="ctr">
            <a:noAutofit/>
          </a:bodyPr>
          <a:lstStyle>
            <a:lvl1pPr marL="0" indent="0">
              <a:buNone/>
              <a:defRPr sz="2215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A3944C04-0B8D-437B-9ED1-145E37382367}"/>
              </a:ext>
            </a:extLst>
          </p:cNvPr>
          <p:cNvCxnSpPr>
            <a:cxnSpLocks/>
          </p:cNvCxnSpPr>
          <p:nvPr userDrawn="1"/>
        </p:nvCxnSpPr>
        <p:spPr>
          <a:xfrm>
            <a:off x="345903" y="127415"/>
            <a:ext cx="0" cy="894388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" descr="K:\A - Kit présentations\4 - Charte VERTONE et icones\Logo\1 - Nouveau logo 2011\VERTONE_logo3_SD-01.gif">
            <a:extLst>
              <a:ext uri="{FF2B5EF4-FFF2-40B4-BE49-F238E27FC236}">
                <a16:creationId xmlns:a16="http://schemas.microsoft.com/office/drawing/2014/main" id="{B7355B21-617A-499A-BE53-A13098DADE3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259" y="6575623"/>
            <a:ext cx="789558" cy="1175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4000178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8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504" y="548687"/>
            <a:ext cx="8640000" cy="5988887"/>
          </a:xfrm>
          <a:prstGeom prst="rect">
            <a:avLst/>
          </a:prstGeom>
        </p:spPr>
      </p:pic>
      <p:sp>
        <p:nvSpPr>
          <p:cNvPr id="5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23529" y="332656"/>
            <a:ext cx="8352928" cy="2880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15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2769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fr-FR"/>
              <a:t>C</a:t>
            </a:r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2"/>
          </p:nvPr>
        </p:nvSpPr>
        <p:spPr>
          <a:xfrm>
            <a:off x="467544" y="764704"/>
            <a:ext cx="8208912" cy="43204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31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2769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fr-FR"/>
              <a:t>C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/>
          </p:nvPr>
        </p:nvSpPr>
        <p:spPr>
          <a:xfrm>
            <a:off x="468324" y="1988842"/>
            <a:ext cx="8208143" cy="3960219"/>
          </a:xfrm>
          <a:prstGeom prst="rect">
            <a:avLst/>
          </a:prstGeom>
        </p:spPr>
        <p:txBody>
          <a:bodyPr numCol="2"/>
          <a:lstStyle>
            <a:lvl1pPr marL="0" indent="0">
              <a:buFontTx/>
              <a:buNone/>
              <a:defRPr sz="1477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200" b="1">
                <a:solidFill>
                  <a:srgbClr val="56B3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ts val="1292"/>
              </a:lnSpc>
              <a:buNone/>
              <a:defRPr sz="1015" b="1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 algn="l">
              <a:lnSpc>
                <a:spcPts val="1292"/>
              </a:lnSpc>
              <a:buFontTx/>
              <a:buNone/>
              <a:defRPr sz="10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8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467555" y="1268760"/>
            <a:ext cx="8208143" cy="648072"/>
          </a:xfrm>
          <a:prstGeom prst="rect">
            <a:avLst/>
          </a:prstGeom>
        </p:spPr>
        <p:txBody>
          <a:bodyPr numCol="1"/>
          <a:lstStyle>
            <a:lvl1pPr marL="0" indent="0">
              <a:buFontTx/>
              <a:buNone/>
              <a:defRPr sz="1477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200" b="1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lnSpc>
                <a:spcPts val="1292"/>
              </a:lnSpc>
              <a:buNone/>
              <a:defRPr sz="1015" b="1">
                <a:latin typeface="Arial" pitchFamily="34" charset="0"/>
                <a:cs typeface="Arial" pitchFamily="34" charset="0"/>
              </a:defRPr>
            </a:lvl3pPr>
            <a:lvl4pPr marL="0" indent="0" algn="l">
              <a:lnSpc>
                <a:spcPts val="1292"/>
              </a:lnSpc>
              <a:buFontTx/>
              <a:buNone/>
              <a:defRPr sz="1015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0949611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au +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numéro de diapositive 17">
            <a:extLst>
              <a:ext uri="{FF2B5EF4-FFF2-40B4-BE49-F238E27FC236}">
                <a16:creationId xmlns:a16="http://schemas.microsoft.com/office/drawing/2014/main" id="{C2CEE769-E6B3-D74C-BF35-411ABF930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0847" y="6554552"/>
            <a:ext cx="267037" cy="10158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54"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fld id="{A02DBDA5-8F39-9846-8B3A-C11234E9599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" name="Espace réservé du tableau 2">
            <a:extLst>
              <a:ext uri="{FF2B5EF4-FFF2-40B4-BE49-F238E27FC236}">
                <a16:creationId xmlns:a16="http://schemas.microsoft.com/office/drawing/2014/main" id="{4474A7FD-450A-4B49-A05A-ACE58C39F32B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278607" y="1631092"/>
            <a:ext cx="8576072" cy="474499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fr-FR"/>
              <a:t>Cliquez sur l'icône pour ajouter un tableau</a:t>
            </a:r>
          </a:p>
        </p:txBody>
      </p:sp>
      <p:sp>
        <p:nvSpPr>
          <p:cNvPr id="11" name="Espace réservé du texte 15">
            <a:extLst>
              <a:ext uri="{FF2B5EF4-FFF2-40B4-BE49-F238E27FC236}">
                <a16:creationId xmlns:a16="http://schemas.microsoft.com/office/drawing/2014/main" id="{95D2A995-CF0E-9C4D-A91A-1D991EBFB9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6542" y="6489702"/>
            <a:ext cx="3584615" cy="198179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ts val="762"/>
              </a:lnSpc>
              <a:buNone/>
              <a:defRPr sz="554" b="0" i="0" spc="69" baseline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316531" indent="0" algn="r">
              <a:buNone/>
              <a:defRPr b="1" i="0">
                <a:solidFill>
                  <a:schemeClr val="tx2"/>
                </a:solidFill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0" indent="0" algn="l">
              <a:buNone/>
              <a:defRPr sz="1246" b="0" i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949593" indent="0" algn="r">
              <a:buNone/>
              <a:defRPr b="1" i="0">
                <a:solidFill>
                  <a:schemeClr val="tx2"/>
                </a:solidFill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0" indent="0" algn="l">
              <a:buNone/>
              <a:defRPr sz="831" b="0" i="1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5">
            <a:extLst>
              <a:ext uri="{FF2B5EF4-FFF2-40B4-BE49-F238E27FC236}">
                <a16:creationId xmlns:a16="http://schemas.microsoft.com/office/drawing/2014/main" id="{29CBF7D8-F65A-B94B-966A-273EAFD731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0430" y="368303"/>
            <a:ext cx="7344965" cy="74937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0" indent="0" algn="l">
              <a:lnSpc>
                <a:spcPts val="1523"/>
              </a:lnSpc>
              <a:buNone/>
              <a:defRPr sz="1385"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0" indent="0" algn="l">
              <a:buNone/>
              <a:defRPr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 algn="l">
              <a:lnSpc>
                <a:spcPts val="1108"/>
              </a:lnSpc>
              <a:buNone/>
              <a:defRPr sz="969" b="0" i="1">
                <a:solidFill>
                  <a:schemeClr val="tx1">
                    <a:lumMod val="7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buNone/>
              <a:defRPr sz="969" b="0" i="1">
                <a:solidFill>
                  <a:schemeClr val="tx1">
                    <a:lumMod val="7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8415" y="-214926"/>
            <a:ext cx="1133954" cy="1438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052880"/>
      </p:ext>
    </p:extLst>
  </p:cSld>
  <p:clrMapOvr>
    <a:masterClrMapping/>
  </p:clrMapOvr>
  <p:transition spd="slow">
    <p:push dir="u"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059307A9-CCA1-C141-8CBA-EF3702A508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1171052-1C83-E947-8934-6A56CD4DB0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716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0DC2DEF-D8DD-D647-9566-83D46914D4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274638"/>
            <a:ext cx="7772400" cy="425450"/>
          </a:xfrm>
        </p:spPr>
        <p:txBody>
          <a:bodyPr>
            <a:normAutofit/>
          </a:bodyPr>
          <a:lstStyle>
            <a:lvl1pPr marL="0" indent="0">
              <a:buNone/>
              <a:defRPr sz="2105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491585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69B986-A51F-D245-9BCC-3B1679B13915}"/>
              </a:ext>
            </a:extLst>
          </p:cNvPr>
          <p:cNvSpPr/>
          <p:nvPr/>
        </p:nvSpPr>
        <p:spPr>
          <a:xfrm>
            <a:off x="0" y="5805264"/>
            <a:ext cx="9144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62" b="0" i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20633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E00F004F-2D04-7B4A-A582-B676C48B1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B77093A-8FD9-C743-8AB9-68B77F906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8"/>
            <a:ext cx="7772400" cy="425450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650394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C10C022-5075-4122-8A74-4E8549572827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07EC75A-ADBD-454D-A76D-CB2F9FAB04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410" y="275795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10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8B36222-61E8-4AAF-A7B6-6587311797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2" name="Espace réservé du numéro de diapositive 6">
            <a:extLst>
              <a:ext uri="{FF2B5EF4-FFF2-40B4-BE49-F238E27FC236}">
                <a16:creationId xmlns:a16="http://schemas.microsoft.com/office/drawing/2014/main" id="{0C00F324-1AA0-4A39-AB49-44BCCA061610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73D097ED-A4DB-4B51-9E95-060FD94CED29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4784FB27-F38F-4309-83E6-84A9FFD77256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329876F9-07D9-4A16-ADED-E0654F766D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93069344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52424"/>
            <a:ext cx="7772400" cy="4627563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ADDB5E15-B132-604E-A96C-467AD56986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798286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52424"/>
            <a:ext cx="77724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55" indent="-171455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42909" indent="-171455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63" indent="-171455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816" indent="-171455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18470461-A83A-E840-9104-A76AC7AEE9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60648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80568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52424"/>
            <a:ext cx="381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52424"/>
            <a:ext cx="381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11585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B7B9635-D6E8-6542-8038-741450A4A3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62603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065312"/>
            <a:ext cx="3811588" cy="46166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1560285"/>
            <a:ext cx="3811588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65312"/>
            <a:ext cx="3813174" cy="46166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560285"/>
            <a:ext cx="3813174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D6DDDB84-1992-F648-B664-E15D6D7A61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F39B69A-DF0C-C74B-AECB-8C84FDD6DF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46037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4469540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83F19B5F-D435-1149-B342-0F2F0C45FA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620EA93-C2A2-7F47-A352-980A54D240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35242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8823762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54348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9DE56FB2-AE45-264D-BFD7-170416578D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68822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00BEF6B9-7CF7-AD4D-9BD8-DD59844438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4F20D2C-2F58-8341-84A1-6C9C6F946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54348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654CB0F-3CD9-4441-AAA2-6FDC10CAA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182709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3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6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7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3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6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7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70394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30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9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7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5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30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9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7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5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2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30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9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7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5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52408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3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6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3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6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7607808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086247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3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6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3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6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0355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31D465F2-425C-4D30-8465-DB3FF4C160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101" y="5601902"/>
            <a:ext cx="8460640" cy="452389"/>
          </a:xfrm>
        </p:spPr>
        <p:txBody>
          <a:bodyPr>
            <a:normAutofit/>
          </a:bodyPr>
          <a:lstStyle>
            <a:lvl1pPr marL="0" indent="0">
              <a:buNone/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Insérer ici la légend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7259" y="1222374"/>
            <a:ext cx="8489716" cy="42062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C10C022-5075-4122-8A74-4E8549572827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07EC75A-ADBD-454D-A76D-CB2F9FAB04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410" y="275795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10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8B36222-61E8-4AAF-A7B6-6587311797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2" name="Espace réservé du numéro de diapositive 6">
            <a:extLst>
              <a:ext uri="{FF2B5EF4-FFF2-40B4-BE49-F238E27FC236}">
                <a16:creationId xmlns:a16="http://schemas.microsoft.com/office/drawing/2014/main" id="{0C00F324-1AA0-4A39-AB49-44BCCA061610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73D097ED-A4DB-4B51-9E95-060FD94CED29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4784FB27-F38F-4309-83E6-84A9FFD77256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329876F9-07D9-4A16-ADED-E0654F766D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52621461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6670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482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6294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66B491E-8DB3-F043-AE38-6C1B8D9A25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65619C-6DC0-E340-8E4D-22F8BC9E96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63398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961888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55499977-E8EC-4744-97B7-18E10E4D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A3BACF1-BB88-5B4A-85B4-E6BA0E7023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63863179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961888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6025935A-C352-B34F-8B46-598C300E4B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818EA5D-75AA-DE4E-AE56-1C4B23543A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00070126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0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3A56DBC1-759F-7441-9298-3445D016AE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007D57B-268D-5C4C-AB39-804902E6BD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7519661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0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CF4CDE3-2F4A-FF48-9887-9A9C3DFF9E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D311C3-8CB6-3D4D-9C94-B2893CDD47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2832928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9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8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5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FA31A7D9-010F-474B-9516-467EE97D83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5DA64B4-19D6-4940-8229-DA7356FDE0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4810809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9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8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5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0CA93C7B-3531-4149-9503-30719B4B4A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7319F52-594E-E44B-9500-FA84984DD2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60088501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AAB8E42C-CA33-D44A-9946-4EFC2F8B41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5329BAE-3C57-B340-B862-946356B54B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91905716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F19EB1A3-0042-CA45-B582-129198E993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9151B5C-00AA-CC48-90DA-C2DE47117A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874699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694989D7-F531-FE4F-B946-5BAD301BC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7634E98-0CB2-0A48-8FD4-40F397C3E3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592486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56FD2439-64DA-45E7-AD7E-3AFEB4F6F8FA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B46104AB-D2FF-413D-B669-CFF0A34C7A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6" y="241252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10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91750D94-AFF6-4983-82C0-6A78F55646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D6108724-3766-474E-BB52-AA12F8FDA54D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  <p:sp>
        <p:nvSpPr>
          <p:cNvPr id="9" name="Parenthèses 8">
            <a:extLst>
              <a:ext uri="{FF2B5EF4-FFF2-40B4-BE49-F238E27FC236}">
                <a16:creationId xmlns:a16="http://schemas.microsoft.com/office/drawing/2014/main" id="{C3B1287E-4B2B-4AF7-BAA1-999B9F536A2E}"/>
              </a:ext>
            </a:extLst>
          </p:cNvPr>
          <p:cNvSpPr/>
          <p:nvPr userDrawn="1"/>
        </p:nvSpPr>
        <p:spPr>
          <a:xfrm rot="390995">
            <a:off x="7082794" y="193665"/>
            <a:ext cx="1836000" cy="246408"/>
          </a:xfrm>
          <a:prstGeom prst="bracketPair">
            <a:avLst/>
          </a:prstGeom>
          <a:solidFill>
            <a:srgbClr val="FFC5C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>
                <a:solidFill>
                  <a:srgbClr val="FF0000"/>
                </a:solidFill>
              </a:rPr>
              <a:t>Version de travail</a:t>
            </a:r>
          </a:p>
        </p:txBody>
      </p:sp>
    </p:spTree>
    <p:extLst>
      <p:ext uri="{BB962C8B-B14F-4D97-AF65-F5344CB8AC3E}">
        <p14:creationId xmlns:p14="http://schemas.microsoft.com/office/powerpoint/2010/main" val="2215526025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9" y="4717011"/>
            <a:ext cx="1831086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8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5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4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7" name="Graphique 16">
            <a:extLst>
              <a:ext uri="{FF2B5EF4-FFF2-40B4-BE49-F238E27FC236}">
                <a16:creationId xmlns:a16="http://schemas.microsoft.com/office/drawing/2014/main" id="{BB8D2062-AD3C-7D46-9953-DE503CF47A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21D69C5-DBA6-BF41-846B-6718080B6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73243945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9" y="4717011"/>
            <a:ext cx="1831086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8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5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4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2A89A3B3-ED9F-B340-BD5B-E9699F9477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3666FBF-6FAF-6F4B-8B30-7C54522AFC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6292992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85800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961888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EEF6BB38-D89A-7C40-A577-40E43FEA08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D3CBC66-E198-B141-B0B1-B0DA21282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05486834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6946" y="1397000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3" y="1397000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704409"/>
            <a:ext cx="3813048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704409"/>
            <a:ext cx="3813048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86946" y="3060985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3" y="3060985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363588A7-351F-574F-A1B3-D5C433ED74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268BEFF-37F5-AB4C-A016-F42BED05B4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4351333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4361217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4361217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4361217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4361217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88C2DAF-626B-364D-9098-A1709749D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629AE43-B5E4-9043-A3FA-0F7EBEBE16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6320509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4822882"/>
            <a:ext cx="2496312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4822882"/>
            <a:ext cx="2496312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4822882"/>
            <a:ext cx="2496312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A4036CC-97E5-B849-A2A9-7CCF91196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D165CD7-863A-0B4F-9531-94699F2D1A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7342272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6999"/>
            <a:ext cx="381419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6999"/>
            <a:ext cx="381419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4822883"/>
            <a:ext cx="3813048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4822883"/>
            <a:ext cx="3813048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7C6BE1A-D729-5042-B853-CB90AED790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9565308-AC5C-3142-83A2-E89792A03F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0033814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2739174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2739174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2739174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2739174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4212305"/>
            <a:ext cx="1831086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666239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646678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627115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F0F881DA-A7CC-BD41-A84F-BF7A9D51CF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4A0912B-C107-C44E-ACD7-611AF7E62D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6686253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2739174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2739174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2739174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2739174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4212305"/>
            <a:ext cx="1831086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666239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646678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627115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9440E4D-4DA5-4D4E-8661-8390073C06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339AC01-3C2B-3A4D-9F46-7F093BFE49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1738919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39"/>
            <a:ext cx="2496312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3200839"/>
            <a:ext cx="2496312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3200839"/>
            <a:ext cx="2496312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795E97A-C56F-C049-B2AC-3775503493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6EB6E31-FB91-9041-B8C1-6FC719D3DC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866984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EB5686E0-D12E-4E20-B4BD-F9E63E0B5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6" y="241252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38500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29C038B-63C9-41DE-8C9D-07E34B585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0" y="1222411"/>
            <a:ext cx="8556857" cy="48323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E3214949-0725-4429-9BDC-4624A0D0BD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- </a:t>
            </a:r>
            <a:fld id="{14A67E6E-0755-44ED-AC21-3B9DF6D2C900}" type="slidenum">
              <a:rPr lang="fr-FR" smtClean="0"/>
              <a:t>‹N°›</a:t>
            </a:fld>
            <a:r>
              <a:rPr lang="fr-FR"/>
              <a:t> -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C935C2CC-C68B-4CBC-8511-CB192F8D0099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7">
            <a:extLst>
              <a:ext uri="{FF2B5EF4-FFF2-40B4-BE49-F238E27FC236}">
                <a16:creationId xmlns:a16="http://schemas.microsoft.com/office/drawing/2014/main" id="{7BC62E6A-88BD-4B9D-BDDA-289DCAEB12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id="{964C1796-6D3B-4241-AA74-80C4764101C0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071012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pic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42"/>
            <a:ext cx="3813048" cy="840230"/>
          </a:xfrm>
          <a:solidFill>
            <a:srgbClr val="3681C7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3200842"/>
            <a:ext cx="3813048" cy="840230"/>
          </a:xfrm>
          <a:solidFill>
            <a:srgbClr val="15A3E9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2F5563A4-00DA-0A4A-9191-3B7C3C63C6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0D37E20-FC27-B249-B0F0-0453E036D0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9685133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pic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42"/>
            <a:ext cx="3813048" cy="840230"/>
          </a:xfrm>
          <a:solidFill>
            <a:srgbClr val="2C68A0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3200842"/>
            <a:ext cx="3813048" cy="840230"/>
          </a:xfrm>
          <a:solidFill>
            <a:srgbClr val="1C476C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EBBA0772-2351-A74B-BDE0-3FF4260101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A74A77-8429-6948-B720-9EB3CE4A81C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2974416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8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2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409681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5590922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7772165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8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2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3409681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5590922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7772165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8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2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3409681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5590922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7772165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50" name="Graphique 49">
            <a:extLst>
              <a:ext uri="{FF2B5EF4-FFF2-40B4-BE49-F238E27FC236}">
                <a16:creationId xmlns:a16="http://schemas.microsoft.com/office/drawing/2014/main" id="{D058E5D0-D554-E74A-87ED-C98A24C4D4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612EA65-720A-4949-A1AF-2F2E8F0D69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8919359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9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9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6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6" y="1639789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3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9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6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6" y="315354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3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9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069976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6" y="4667304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6911513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7312B073-661F-FB4E-AF0D-6080D8E7A9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0864F43-5915-E549-8CCF-3116EF2F18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74633166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9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6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6" y="1639789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3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88657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9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388657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6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6" y="3886576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3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654AAC40-CD50-F84E-85F5-562C212445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988FE156-5781-9142-82F5-0A123F5397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47910418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rect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1" y="1639790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721530" y="1639792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3" y="1639790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002677" y="1639792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1" y="3886577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721530" y="3886579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3" y="3886577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6002677" y="3886579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BC51E826-0E67-C244-9010-FD4209835C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5020CB4-0DAD-0A44-8D83-1434A8B5ADF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3832427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3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3554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73170" y="1988840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1543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11874" y="1988840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270246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50575" y="1988839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108949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AAA5E498-2F5F-D245-888E-6ABB881D0E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58C416B-B627-0442-8DAC-E45FFAD75D1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62524157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8474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6202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39441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019098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2642337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5121995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745234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685800" y="77945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4893" y="1952836"/>
            <a:ext cx="1049445" cy="10862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6848130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EE6D15DB-1BDB-3A46-AC60-80C3313397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96505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prof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2" y="1268759"/>
            <a:ext cx="1764195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93479" y="1268759"/>
            <a:ext cx="1764195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600781" y="1268759"/>
            <a:ext cx="1859858" cy="3535680"/>
          </a:xfrm>
        </p:spPr>
        <p:txBody>
          <a:bodyPr>
            <a:noAutofit/>
          </a:bodyPr>
          <a:lstStyle>
            <a:lvl1pPr marL="0" indent="0">
              <a:buNone/>
              <a:defRPr sz="1050" b="0" i="0">
                <a:solidFill>
                  <a:schemeClr val="accent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050"/>
            </a:lvl2pPr>
            <a:lvl3pPr marL="113116" indent="-113116">
              <a:defRPr sz="1050"/>
            </a:lvl3pPr>
            <a:lvl4pPr marL="301244" indent="-155980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598342" y="1268759"/>
            <a:ext cx="1859858" cy="3535680"/>
          </a:xfrm>
        </p:spPr>
        <p:txBody>
          <a:bodyPr>
            <a:noAutofit/>
          </a:bodyPr>
          <a:lstStyle>
            <a:lvl1pPr marL="0" indent="0">
              <a:buNone/>
              <a:defRPr sz="1050" b="0" i="0">
                <a:solidFill>
                  <a:schemeClr val="accent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050"/>
            </a:lvl2pPr>
            <a:lvl3pPr marL="113116" indent="-113116">
              <a:defRPr sz="1050"/>
            </a:lvl3pPr>
            <a:lvl4pPr marL="301244" indent="-155980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85802" y="4980569"/>
            <a:ext cx="377483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93479" y="4980569"/>
            <a:ext cx="376472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73421630-C055-AD46-807F-7527B40694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22C3340-8B3F-F94F-B841-3DB7533A7F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8334139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id="{D561C17F-D64D-114D-BC58-98CF72A78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9705" y="1622789"/>
            <a:ext cx="3452214" cy="2892343"/>
          </a:xfrm>
        </p:spPr>
        <p:txBody>
          <a:bodyPr>
            <a:normAutofit/>
          </a:bodyPr>
          <a:lstStyle>
            <a:lvl1pPr marL="0" indent="0" algn="l">
              <a:buNone/>
              <a:defRPr sz="923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Nunc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fr-FR" sz="831" b="0" i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Espace réservé du texte 16">
            <a:extLst>
              <a:ext uri="{FF2B5EF4-FFF2-40B4-BE49-F238E27FC236}">
                <a16:creationId xmlns:a16="http://schemas.microsoft.com/office/drawing/2014/main" id="{B7180C5D-135F-DE49-867C-FCEA74E7FF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88551" y="1622789"/>
            <a:ext cx="3469650" cy="2892343"/>
          </a:xfrm>
        </p:spPr>
        <p:txBody>
          <a:bodyPr>
            <a:normAutofit/>
          </a:bodyPr>
          <a:lstStyle>
            <a:lvl1pPr marL="0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Nunc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fr-FR" sz="831" b="0" i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Espace réservé du texte 20">
            <a:extLst>
              <a:ext uri="{FF2B5EF4-FFF2-40B4-BE49-F238E27FC236}">
                <a16:creationId xmlns:a16="http://schemas.microsoft.com/office/drawing/2014/main" id="{4ECCDA16-844E-8745-8D37-6665F155DD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9705" y="1203837"/>
            <a:ext cx="3452214" cy="316950"/>
          </a:xfrm>
        </p:spPr>
        <p:txBody>
          <a:bodyPr>
            <a:noAutofit/>
          </a:bodyPr>
          <a:lstStyle>
            <a:lvl1pPr marL="0" indent="0">
              <a:buNone/>
              <a:defRPr sz="1108" b="0" i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AMET, CONSECTETUR ADIPISCING ELIT. MORBI VITAE AUGUE FERMENTUM</a:t>
            </a:r>
          </a:p>
        </p:txBody>
      </p:sp>
      <p:sp>
        <p:nvSpPr>
          <p:cNvPr id="18" name="Espace réservé du texte 20">
            <a:extLst>
              <a:ext uri="{FF2B5EF4-FFF2-40B4-BE49-F238E27FC236}">
                <a16:creationId xmlns:a16="http://schemas.microsoft.com/office/drawing/2014/main" id="{909D0FBB-486C-5642-805D-EE519DBE0C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8550" y="1203837"/>
            <a:ext cx="3452214" cy="316950"/>
          </a:xfrm>
        </p:spPr>
        <p:txBody>
          <a:bodyPr>
            <a:noAutofit/>
          </a:bodyPr>
          <a:lstStyle>
            <a:lvl1pPr marL="0" indent="0">
              <a:buNone/>
              <a:defRPr sz="1108" b="0" i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AMET, CONSECTETUR ADIPISCING ELIT. MORBI VITAE AUGUE FERMENTUM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DDD2C8DC-3776-DD45-8F8A-39D71644FE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800" y="4689476"/>
            <a:ext cx="3446585" cy="251693"/>
          </a:xfrm>
        </p:spPr>
        <p:txBody>
          <a:bodyPr>
            <a:normAutofit/>
          </a:bodyPr>
          <a:lstStyle>
            <a:lvl1pPr marL="0" indent="0" algn="l">
              <a:buNone/>
              <a:defRPr sz="923"/>
            </a:lvl1pPr>
            <a:lvl2pPr marL="171454" indent="0" algn="l">
              <a:buNone/>
              <a:defRPr/>
            </a:lvl2pPr>
            <a:lvl3pPr marL="344496" indent="0" algn="l">
              <a:buNone/>
              <a:defRPr/>
            </a:lvl3pPr>
            <a:lvl4pPr marL="515949" indent="0" algn="l">
              <a:buNone/>
              <a:defRPr/>
            </a:lvl4pPr>
            <a:lvl5pPr marL="687405" indent="0" algn="l">
              <a:buNone/>
              <a:defRPr/>
            </a:lvl5pPr>
          </a:lstStyle>
          <a:p>
            <a:pPr lvl="0"/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dum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dale</a:t>
            </a:r>
            <a:endParaRPr kumimoji="0" lang="en-US" sz="831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Espace réservé du texte 19">
            <a:extLst>
              <a:ext uri="{FF2B5EF4-FFF2-40B4-BE49-F238E27FC236}">
                <a16:creationId xmlns:a16="http://schemas.microsoft.com/office/drawing/2014/main" id="{030BA8CF-0947-3A4E-8884-1F6CEC977A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94645" y="4689476"/>
            <a:ext cx="3446585" cy="251693"/>
          </a:xfrm>
        </p:spPr>
        <p:txBody>
          <a:bodyPr>
            <a:normAutofit/>
          </a:bodyPr>
          <a:lstStyle>
            <a:lvl1pPr marL="0" indent="0" algn="l">
              <a:buNone/>
              <a:defRPr sz="923"/>
            </a:lvl1pPr>
            <a:lvl2pPr marL="171454" indent="0" algn="l">
              <a:buNone/>
              <a:defRPr/>
            </a:lvl2pPr>
            <a:lvl3pPr marL="344496" indent="0" algn="l">
              <a:buNone/>
              <a:defRPr/>
            </a:lvl3pPr>
            <a:lvl4pPr marL="515949" indent="0" algn="l">
              <a:buNone/>
              <a:defRPr/>
            </a:lvl4pPr>
            <a:lvl5pPr marL="687405" indent="0" algn="l">
              <a:buNone/>
              <a:defRPr/>
            </a:lvl5pPr>
          </a:lstStyle>
          <a:p>
            <a:pPr lvl="0"/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dum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dale</a:t>
            </a:r>
            <a:endParaRPr kumimoji="0" lang="en-US" sz="831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8F593E58-673D-1148-A3BB-0462D7155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16943"/>
            <a:ext cx="7772400" cy="340724"/>
          </a:xfrm>
        </p:spPr>
        <p:txBody>
          <a:bodyPr anchor="t"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endParaRPr lang="fr-FR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F562348-6639-094F-975D-DC1D19C48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0EFFCB1-6ED5-BB40-B1FE-61B71ED63A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007752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38500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31D465F2-425C-4D30-8465-DB3FF4C160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101" y="5601902"/>
            <a:ext cx="8460640" cy="452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Insérer ici la légend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7259" y="1222374"/>
            <a:ext cx="8489716" cy="4206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07EC75A-ADBD-454D-A76D-CB2F9FAB04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6" y="241252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8D081CFA-44B1-4E62-831F-6DA15E6E7E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- </a:t>
            </a:r>
            <a:fld id="{32542D6D-A1A3-47CA-B985-9FACF2720559}" type="slidenum">
              <a:rPr lang="fr-FR" smtClean="0"/>
              <a:pPr/>
              <a:t>‹N°›</a:t>
            </a:fld>
            <a:r>
              <a:rPr lang="fr-FR"/>
              <a:t> -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0412E13-18DA-4F1D-BFFD-EF35324674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A0FDF2D1-E740-4A11-AB2C-F25B683ADC55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2468381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C8467E19-8FBC-2846-A58D-3265F5212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410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F482980A-F64E-EF40-B05C-78A6EDAC86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9865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D6B9960-A269-F14A-989C-A5B255FD27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05029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115A1495-E42C-DF46-990F-D0ADC21BE2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410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D30F3E7F-9CC4-EF42-90C1-4BB9B05ABE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9865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068EB0D8-3880-5E4E-A524-E07BDA667B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05029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9">
            <a:extLst>
              <a:ext uri="{FF2B5EF4-FFF2-40B4-BE49-F238E27FC236}">
                <a16:creationId xmlns:a16="http://schemas.microsoft.com/office/drawing/2014/main" id="{6DB02B1F-DA00-4F4A-95BF-91EF515530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5164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1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BDA18899-EFD1-FF48-A3B7-8FE5811E0B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86717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2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DDF5498E-6E23-6849-8D8E-4D29F138D4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01879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DAF3E67-D170-F742-A095-7878D0AE9C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5164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4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6033A3A2-B688-F34A-985C-24CD9D7D11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86717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5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61405870-F208-BC4C-8EDE-89049CBC22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01879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6</a:t>
            </a: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F8A2ADC4-8B85-224C-A734-BEE3109D5C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16943"/>
            <a:ext cx="7772400" cy="340724"/>
          </a:xfrm>
        </p:spPr>
        <p:txBody>
          <a:bodyPr anchor="ctr"/>
          <a:lstStyle>
            <a:lvl1pPr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fr-FR"/>
              <a:t>Atouts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171D64AC-1285-D043-939C-14FBB09DC9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A32DEDA-6678-8045-BC0F-1BC7CBE609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4965700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51972"/>
            <a:ext cx="7772400" cy="628756"/>
          </a:xfrm>
        </p:spPr>
        <p:txBody>
          <a:bodyPr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r>
              <a:rPr lang="fr-FR"/>
              <a:t> </a:t>
            </a:r>
            <a:r>
              <a:rPr lang="fr-FR" err="1"/>
              <a:t>hastisque</a:t>
            </a:r>
            <a:r>
              <a:rPr lang="fr-FR"/>
              <a:t> </a:t>
            </a:r>
            <a:r>
              <a:rPr lang="fr-FR" err="1"/>
              <a:t>feriens</a:t>
            </a:r>
            <a:r>
              <a:rPr lang="fr-FR"/>
              <a:t> scuta qui habitus </a:t>
            </a:r>
            <a:r>
              <a:rPr lang="fr-FR" err="1"/>
              <a:t>iram</a:t>
            </a:r>
            <a:r>
              <a:rPr lang="fr-FR"/>
              <a:t> </a:t>
            </a:r>
            <a:r>
              <a:rPr lang="fr-FR" err="1"/>
              <a:t>pugnantium</a:t>
            </a:r>
            <a:r>
              <a:rPr lang="fr-FR"/>
              <a:t> </a:t>
            </a:r>
            <a:r>
              <a:rPr lang="fr-FR" err="1"/>
              <a:t>concitat</a:t>
            </a:r>
            <a:endParaRPr lang="fr-FR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BE6FF84-B617-E844-A665-802CB0BAA502}"/>
              </a:ext>
            </a:extLst>
          </p:cNvPr>
          <p:cNvSpPr txBox="1">
            <a:spLocks/>
          </p:cNvSpPr>
          <p:nvPr/>
        </p:nvSpPr>
        <p:spPr>
          <a:xfrm>
            <a:off x="499525" y="1520788"/>
            <a:ext cx="996923" cy="108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1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6D5411-8278-F64F-AA41-84F0085ACF3C}"/>
              </a:ext>
            </a:extLst>
          </p:cNvPr>
          <p:cNvSpPr txBox="1">
            <a:spLocks/>
          </p:cNvSpPr>
          <p:nvPr/>
        </p:nvSpPr>
        <p:spPr>
          <a:xfrm>
            <a:off x="1952315" y="1520788"/>
            <a:ext cx="996923" cy="1080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2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A94810E-A474-BD49-9067-F2AB653D88A2}"/>
              </a:ext>
            </a:extLst>
          </p:cNvPr>
          <p:cNvSpPr txBox="1">
            <a:spLocks/>
          </p:cNvSpPr>
          <p:nvPr/>
        </p:nvSpPr>
        <p:spPr>
          <a:xfrm>
            <a:off x="3375559" y="1520788"/>
            <a:ext cx="996923" cy="1080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3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37D1E30-4E08-8545-A624-D93B2135F95B}"/>
              </a:ext>
            </a:extLst>
          </p:cNvPr>
          <p:cNvSpPr txBox="1">
            <a:spLocks/>
          </p:cNvSpPr>
          <p:nvPr/>
        </p:nvSpPr>
        <p:spPr>
          <a:xfrm>
            <a:off x="4798804" y="1520788"/>
            <a:ext cx="996923" cy="10800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4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181B2A05-904A-FC4A-BA0A-83CA23EE5164}"/>
              </a:ext>
            </a:extLst>
          </p:cNvPr>
          <p:cNvSpPr txBox="1">
            <a:spLocks/>
          </p:cNvSpPr>
          <p:nvPr/>
        </p:nvSpPr>
        <p:spPr>
          <a:xfrm>
            <a:off x="6222048" y="1520788"/>
            <a:ext cx="996923" cy="1080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5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DC88F8A3-273F-CB4C-AF48-54804BE7C37A}"/>
              </a:ext>
            </a:extLst>
          </p:cNvPr>
          <p:cNvSpPr txBox="1">
            <a:spLocks/>
          </p:cNvSpPr>
          <p:nvPr/>
        </p:nvSpPr>
        <p:spPr>
          <a:xfrm>
            <a:off x="7645294" y="1520788"/>
            <a:ext cx="996923" cy="108000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r>
              <a:rPr lang="fr-FR" sz="3231" b="0" i="0">
                <a:latin typeface="Segoe UI Light" panose="020B0502040204020203" pitchFamily="34" charset="0"/>
              </a:rPr>
              <a:t>6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5B872118-8F18-8B44-BDD6-4D6400B4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45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7CF5C18-1E95-C243-B7C5-426CDD91A3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676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BC76D2F1-C74C-EF4B-9B5B-7D1F8910A3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9420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5D1C027F-D3CE-1444-A4AF-8739131D3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6075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89B41A96-1EB0-A843-B5A7-A41BEAF80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65156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E74B7E68-2061-E14E-AE23-DDBD7DD33D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9423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00AEB744-AD2A-8348-9DE7-6376E2D901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95817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locs 3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>
            <a:extLst>
              <a:ext uri="{FF2B5EF4-FFF2-40B4-BE49-F238E27FC236}">
                <a16:creationId xmlns:a16="http://schemas.microsoft.com/office/drawing/2014/main" id="{6195ED57-034D-804E-8062-A1BB1B4357BD}"/>
              </a:ext>
            </a:extLst>
          </p:cNvPr>
          <p:cNvSpPr/>
          <p:nvPr/>
        </p:nvSpPr>
        <p:spPr>
          <a:xfrm>
            <a:off x="251521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D96AC5-ACB1-5343-B150-97A7A65B8C7F}"/>
              </a:ext>
            </a:extLst>
          </p:cNvPr>
          <p:cNvSpPr/>
          <p:nvPr/>
        </p:nvSpPr>
        <p:spPr>
          <a:xfrm>
            <a:off x="3008002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BC82BB8-C31D-474E-9BC2-CCA7CC3CA0EB}"/>
              </a:ext>
            </a:extLst>
          </p:cNvPr>
          <p:cNvSpPr/>
          <p:nvPr/>
        </p:nvSpPr>
        <p:spPr>
          <a:xfrm>
            <a:off x="5734969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1577CC0-21BC-EE47-9EE3-83D8837E2868}"/>
              </a:ext>
            </a:extLst>
          </p:cNvPr>
          <p:cNvSpPr/>
          <p:nvPr/>
        </p:nvSpPr>
        <p:spPr>
          <a:xfrm>
            <a:off x="251521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56DAB77-BE19-DC49-8F90-4AFD6F720FD1}"/>
              </a:ext>
            </a:extLst>
          </p:cNvPr>
          <p:cNvSpPr/>
          <p:nvPr/>
        </p:nvSpPr>
        <p:spPr>
          <a:xfrm>
            <a:off x="3008002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0A3DDDF-952A-0846-B4D6-EE383794216A}"/>
              </a:ext>
            </a:extLst>
          </p:cNvPr>
          <p:cNvSpPr/>
          <p:nvPr/>
        </p:nvSpPr>
        <p:spPr>
          <a:xfrm>
            <a:off x="5734969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662C264B-5100-A94D-91E8-1B41B17087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741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2391E2D5-831D-CD45-8FC2-83B5250658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3585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1C4A0AF5-2632-5543-863D-5C22F7895F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5829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F61C2B9A-4D71-254E-BA77-756EC7FF9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741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A4C1D545-649F-504B-9FD2-4ED1D012B6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3585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BD27275D-5F22-AE45-ABD0-CED52D06BF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5829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798A602A-55CF-284D-A4C2-5D26F6293B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378" y="1483406"/>
            <a:ext cx="2071962" cy="207287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ULTANCY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0C7BF7F5-E80F-4948-B034-F8EE8DA906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0604" y="1483406"/>
            <a:ext cx="2071962" cy="207287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&amp; ACCOUNT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16334BA2-8B93-5247-A8F3-E9CDB36152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55829" y="1483405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PHIC DESIGN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4ACC63D6-B64C-D54B-89B7-105CF12845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5829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T MANAGEMENT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CB40137D-D7D7-AD47-B603-C1DC59629D5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30011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TIVATION</a:t>
            </a:r>
          </a:p>
        </p:txBody>
      </p:sp>
      <p:sp>
        <p:nvSpPr>
          <p:cNvPr id="44" name="Espace réservé du texte 9">
            <a:extLst>
              <a:ext uri="{FF2B5EF4-FFF2-40B4-BE49-F238E27FC236}">
                <a16:creationId xmlns:a16="http://schemas.microsoft.com/office/drawing/2014/main" id="{84CBD0E7-FF34-B643-B4AA-FC15740514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6565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C731E4-001F-6D46-A0CB-AA8854A446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273383CC-CD49-FA40-AF4F-ABE957922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31282"/>
            <a:ext cx="7772400" cy="361414"/>
          </a:xfrm>
        </p:spPr>
        <p:txBody>
          <a:bodyPr anchor="ctr"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endParaRPr lang="fr-FR"/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965860D0-F6A1-8540-BC28-FC2755C49B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51606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locs 2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51972"/>
            <a:ext cx="7772400" cy="628756"/>
          </a:xfrm>
        </p:spPr>
        <p:txBody>
          <a:bodyPr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r>
              <a:rPr lang="fr-FR"/>
              <a:t> </a:t>
            </a:r>
            <a:r>
              <a:rPr lang="fr-FR" err="1"/>
              <a:t>hastisque</a:t>
            </a:r>
            <a:r>
              <a:rPr lang="fr-FR"/>
              <a:t> </a:t>
            </a:r>
            <a:r>
              <a:rPr lang="fr-FR" err="1"/>
              <a:t>feriens</a:t>
            </a:r>
            <a:r>
              <a:rPr lang="fr-FR"/>
              <a:t> scuta qui habitus </a:t>
            </a:r>
            <a:r>
              <a:rPr lang="fr-FR" err="1"/>
              <a:t>iram</a:t>
            </a:r>
            <a:r>
              <a:rPr lang="fr-FR"/>
              <a:t> </a:t>
            </a:r>
            <a:r>
              <a:rPr lang="fr-FR" err="1"/>
              <a:t>pugnantium</a:t>
            </a:r>
            <a:r>
              <a:rPr lang="fr-FR"/>
              <a:t> </a:t>
            </a:r>
            <a:r>
              <a:rPr lang="fr-FR" err="1"/>
              <a:t>concitat</a:t>
            </a:r>
            <a:endParaRPr lang="fr-FR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6195ED57-034D-804E-8062-A1BB1B4357BD}"/>
              </a:ext>
            </a:extLst>
          </p:cNvPr>
          <p:cNvSpPr/>
          <p:nvPr/>
        </p:nvSpPr>
        <p:spPr>
          <a:xfrm>
            <a:off x="251521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D96AC5-ACB1-5343-B150-97A7A65B8C7F}"/>
              </a:ext>
            </a:extLst>
          </p:cNvPr>
          <p:cNvSpPr/>
          <p:nvPr/>
        </p:nvSpPr>
        <p:spPr>
          <a:xfrm>
            <a:off x="251521" y="2971267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BC82BB8-C31D-474E-9BC2-CCA7CC3CA0EB}"/>
              </a:ext>
            </a:extLst>
          </p:cNvPr>
          <p:cNvSpPr/>
          <p:nvPr/>
        </p:nvSpPr>
        <p:spPr>
          <a:xfrm>
            <a:off x="251521" y="4612164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1577CC0-21BC-EE47-9EE3-83D8837E2868}"/>
              </a:ext>
            </a:extLst>
          </p:cNvPr>
          <p:cNvSpPr/>
          <p:nvPr/>
        </p:nvSpPr>
        <p:spPr>
          <a:xfrm>
            <a:off x="4442058" y="1440463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56DAB77-BE19-DC49-8F90-4AFD6F720FD1}"/>
              </a:ext>
            </a:extLst>
          </p:cNvPr>
          <p:cNvSpPr/>
          <p:nvPr/>
        </p:nvSpPr>
        <p:spPr>
          <a:xfrm>
            <a:off x="4460913" y="296154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0A3DDDF-952A-0846-B4D6-EE383794216A}"/>
              </a:ext>
            </a:extLst>
          </p:cNvPr>
          <p:cNvSpPr/>
          <p:nvPr/>
        </p:nvSpPr>
        <p:spPr>
          <a:xfrm>
            <a:off x="4471572" y="4582179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F96508CC-9CAC-D94E-9B76-8D5CE523DF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078" y="1772816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D26640EC-8478-AB44-8B36-EB897B24BD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2078" y="337528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526FAAA4-17CE-A74B-9425-722C76FBA9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2078" y="499546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07ECE29-D931-8C4F-B1AF-FCD697D883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02855" y="1772816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271788DF-4067-5A40-B8A1-212DED716F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2855" y="337528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9C62AD59-2B64-C442-90E1-4F567E08AF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2855" y="499546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92C4AE38-9F8E-F840-8BE0-745A1A3832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2078" y="1460692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ULTANCY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108E3404-2EC7-A742-B40F-411A1F7678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2078" y="3067704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&amp; ACCOUNT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3CF296E7-525E-A740-9DC8-D82CED1C5F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078" y="4690625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PHIC DESIGN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22EC26C0-3AAE-0E48-8708-E84A82F0849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02855" y="4690625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T MANAGEMENT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1A77401D-64E8-A543-A7AB-E78A144C5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02855" y="3067704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TIVATION</a:t>
            </a:r>
          </a:p>
        </p:txBody>
      </p:sp>
      <p:sp>
        <p:nvSpPr>
          <p:cNvPr id="44" name="Espace réservé du texte 9">
            <a:extLst>
              <a:ext uri="{FF2B5EF4-FFF2-40B4-BE49-F238E27FC236}">
                <a16:creationId xmlns:a16="http://schemas.microsoft.com/office/drawing/2014/main" id="{0A108E76-117B-A146-94BD-48A85E6D5B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02855" y="1460692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D7AD1DB6-CF0C-924E-8965-AB3215A4C2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32826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tre équ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799" y="362835"/>
            <a:ext cx="7772400" cy="314746"/>
          </a:xfrm>
        </p:spPr>
        <p:txBody>
          <a:bodyPr/>
          <a:lstStyle>
            <a:lvl1pPr>
              <a:defRPr b="0"/>
            </a:lvl1pPr>
          </a:lstStyle>
          <a:p>
            <a:r>
              <a:rPr lang="fr-FR"/>
              <a:t>Notre équipe d’intervenant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864FFDA6-8BB0-EB43-8EB5-B85B84EE95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2085" y="1716975"/>
            <a:ext cx="7276114" cy="69427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Cliquez pour modifier les styles du texte du masque</a:t>
            </a:r>
          </a:p>
          <a:p>
            <a:pPr lvl="1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Deuxième niveau</a:t>
            </a:r>
          </a:p>
          <a:p>
            <a:pPr lvl="2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Troisième niveau</a:t>
            </a:r>
          </a:p>
          <a:p>
            <a:pPr lvl="3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Quatrième niveau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21BCBE88-0FE3-344D-9CDA-610088F8504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4624" y="1241416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46326B1A-395B-9048-8ED9-7B709837D1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8554" y="3565241"/>
            <a:ext cx="7276114" cy="70972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Cliquez pour modifier les styles du texte du masque</a:t>
            </a:r>
          </a:p>
        </p:txBody>
      </p:sp>
      <p:sp>
        <p:nvSpPr>
          <p:cNvPr id="26" name="Espace réservé pour une image  5">
            <a:extLst>
              <a:ext uri="{FF2B5EF4-FFF2-40B4-BE49-F238E27FC236}">
                <a16:creationId xmlns:a16="http://schemas.microsoft.com/office/drawing/2014/main" id="{806FEEDE-992D-CE4D-918F-92CFB6F32B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4623" y="3104965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7" name="Espace réservé du texte 9">
            <a:extLst>
              <a:ext uri="{FF2B5EF4-FFF2-40B4-BE49-F238E27FC236}">
                <a16:creationId xmlns:a16="http://schemas.microsoft.com/office/drawing/2014/main" id="{D221A175-261D-E342-AA16-6A23C47FF2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623" y="2788056"/>
            <a:ext cx="8170046" cy="218006"/>
          </a:xfrm>
        </p:spPr>
        <p:txBody>
          <a:bodyPr>
            <a:normAutofit/>
          </a:bodyPr>
          <a:lstStyle>
            <a:lvl1pPr marL="0" indent="0" algn="ctr">
              <a:buNone/>
              <a:defRPr sz="1477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ÉQUIPE COEUR</a:t>
            </a:r>
          </a:p>
        </p:txBody>
      </p:sp>
      <p:sp>
        <p:nvSpPr>
          <p:cNvPr id="28" name="Espace réservé pour une image  5">
            <a:extLst>
              <a:ext uri="{FF2B5EF4-FFF2-40B4-BE49-F238E27FC236}">
                <a16:creationId xmlns:a16="http://schemas.microsoft.com/office/drawing/2014/main" id="{396EFCED-CC81-CC4C-81FA-7084ADC8EB0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51786" y="4921667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Espace réservé pour une image  5">
            <a:extLst>
              <a:ext uri="{FF2B5EF4-FFF2-40B4-BE49-F238E27FC236}">
                <a16:creationId xmlns:a16="http://schemas.microsoft.com/office/drawing/2014/main" id="{C738B4D2-D6C2-6F42-8AFC-4218B96C542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4127" y="4931905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0" name="Espace réservé pour une image  5">
            <a:extLst>
              <a:ext uri="{FF2B5EF4-FFF2-40B4-BE49-F238E27FC236}">
                <a16:creationId xmlns:a16="http://schemas.microsoft.com/office/drawing/2014/main" id="{CE6C50C2-FFB5-6A4E-98B3-A01811853E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55388" y="4848979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6" name="Espace réservé du texte 19">
            <a:extLst>
              <a:ext uri="{FF2B5EF4-FFF2-40B4-BE49-F238E27FC236}">
                <a16:creationId xmlns:a16="http://schemas.microsoft.com/office/drawing/2014/main" id="{5B188B30-C8D5-5643-AE09-6199F8EA8E7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82085" y="1241416"/>
            <a:ext cx="1280579" cy="252411"/>
          </a:xfrm>
        </p:spPr>
        <p:txBody>
          <a:bodyPr>
            <a:no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ASSOCIE: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Espace réservé du texte 19">
            <a:extLst>
              <a:ext uri="{FF2B5EF4-FFF2-40B4-BE49-F238E27FC236}">
                <a16:creationId xmlns:a16="http://schemas.microsoft.com/office/drawing/2014/main" id="{82F96A94-7781-134F-8987-FA7F0B1B68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21402" y="4921667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Arts et Métier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Espace réservé du texte 19">
            <a:extLst>
              <a:ext uri="{FF2B5EF4-FFF2-40B4-BE49-F238E27FC236}">
                <a16:creationId xmlns:a16="http://schemas.microsoft.com/office/drawing/2014/main" id="{757B0E79-48BC-8146-B981-627450C993C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52914" y="3114977"/>
            <a:ext cx="1691791" cy="252411"/>
          </a:xfrm>
        </p:spPr>
        <p:txBody>
          <a:bodyPr>
            <a:no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MANAGER: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Espace réservé du texte 19">
            <a:extLst>
              <a:ext uri="{FF2B5EF4-FFF2-40B4-BE49-F238E27FC236}">
                <a16:creationId xmlns:a16="http://schemas.microsoft.com/office/drawing/2014/main" id="{1780E8FB-3D20-C14F-A4FA-A1F1F98AAB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22109" y="4941209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fr-FR" sz="831" b="0" i="0" err="1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pméca</a:t>
            </a: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ri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Espace réservé du texte 19">
            <a:extLst>
              <a:ext uri="{FF2B5EF4-FFF2-40B4-BE49-F238E27FC236}">
                <a16:creationId xmlns:a16="http://schemas.microsoft.com/office/drawing/2014/main" id="{95E15856-F01B-FF4E-9482-01CF4FF1B7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19405" y="4848979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Centrale Nante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5B918CC6-40D2-EE43-9B53-8CB0D9202C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8C8CDC1-6BB8-5B44-8875-B6C78569459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140015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redent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033" y="333083"/>
            <a:ext cx="7772400" cy="347382"/>
          </a:xfrm>
          <a:ln>
            <a:noFill/>
          </a:ln>
        </p:spPr>
        <p:txBody>
          <a:bodyPr anchor="ctr"/>
          <a:lstStyle>
            <a:lvl1pPr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fr-FR"/>
              <a:t>Our </a:t>
            </a:r>
            <a:r>
              <a:rPr lang="fr-FR" err="1"/>
              <a:t>credentials</a:t>
            </a:r>
            <a:r>
              <a:rPr lang="fr-FR"/>
              <a:t> in </a:t>
            </a:r>
            <a:r>
              <a:rPr lang="fr-FR" err="1"/>
              <a:t>managing</a:t>
            </a:r>
            <a:r>
              <a:rPr lang="fr-FR"/>
              <a:t> major </a:t>
            </a:r>
            <a:r>
              <a:rPr lang="fr-FR" err="1"/>
              <a:t>organizational</a:t>
            </a:r>
            <a:r>
              <a:rPr lang="fr-FR"/>
              <a:t> shift</a:t>
            </a:r>
          </a:p>
        </p:txBody>
      </p:sp>
      <p:sp>
        <p:nvSpPr>
          <p:cNvPr id="24" name="Espace réservé du texte 13">
            <a:extLst>
              <a:ext uri="{FF2B5EF4-FFF2-40B4-BE49-F238E27FC236}">
                <a16:creationId xmlns:a16="http://schemas.microsoft.com/office/drawing/2014/main" id="{96A8C027-DBDF-AF45-8EDC-F9AA2E2D89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6291" y="1617024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DDC088B1-B2AB-0442-8996-7072124DC3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8191" y="2027128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6" name="Espace réservé du texte 13">
            <a:extLst>
              <a:ext uri="{FF2B5EF4-FFF2-40B4-BE49-F238E27FC236}">
                <a16:creationId xmlns:a16="http://schemas.microsoft.com/office/drawing/2014/main" id="{02A038B4-1B64-9E47-A762-1628BA45ED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5787" y="2834499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7" name="Espace réservé du texte 13">
            <a:extLst>
              <a:ext uri="{FF2B5EF4-FFF2-40B4-BE49-F238E27FC236}">
                <a16:creationId xmlns:a16="http://schemas.microsoft.com/office/drawing/2014/main" id="{A0EFC97A-E2BC-A141-8527-E7F57F6760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3982" y="3226917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1" name="Espace réservé du texte 13">
            <a:extLst>
              <a:ext uri="{FF2B5EF4-FFF2-40B4-BE49-F238E27FC236}">
                <a16:creationId xmlns:a16="http://schemas.microsoft.com/office/drawing/2014/main" id="{A3EB6E0A-F8EC-8646-A94D-EC8521832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080" y="389705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3" name="Espace réservé du texte 13">
            <a:extLst>
              <a:ext uri="{FF2B5EF4-FFF2-40B4-BE49-F238E27FC236}">
                <a16:creationId xmlns:a16="http://schemas.microsoft.com/office/drawing/2014/main" id="{D06C11B3-60F2-3346-98A0-2890EEB0B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080" y="473751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5" name="Espace réservé du texte 13">
            <a:extLst>
              <a:ext uri="{FF2B5EF4-FFF2-40B4-BE49-F238E27FC236}">
                <a16:creationId xmlns:a16="http://schemas.microsoft.com/office/drawing/2014/main" id="{7A0E3223-17D2-3E46-BA7B-EE9BA1293F6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9167" y="553411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7" name="Espace réservé du texte 9">
            <a:extLst>
              <a:ext uri="{FF2B5EF4-FFF2-40B4-BE49-F238E27FC236}">
                <a16:creationId xmlns:a16="http://schemas.microsoft.com/office/drawing/2014/main" id="{214413A7-A008-294C-A925-6007D53C3D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787" y="1199098"/>
            <a:ext cx="2000333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>
              <a:lnSpc>
                <a:spcPct val="120000"/>
              </a:lnSpc>
            </a:pPr>
            <a:r>
              <a:rPr lang="fr-FR" sz="1108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PANY</a:t>
            </a:r>
          </a:p>
        </p:txBody>
      </p:sp>
      <p:sp>
        <p:nvSpPr>
          <p:cNvPr id="38" name="Espace réservé du texte 9">
            <a:extLst>
              <a:ext uri="{FF2B5EF4-FFF2-40B4-BE49-F238E27FC236}">
                <a16:creationId xmlns:a16="http://schemas.microsoft.com/office/drawing/2014/main" id="{88C8CA68-F69E-E14D-A0D9-378FCD9E72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2957" y="1218234"/>
            <a:ext cx="2000333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>
              <a:lnSpc>
                <a:spcPct val="120000"/>
              </a:lnSpc>
            </a:pPr>
            <a:r>
              <a:rPr lang="fr-FR" sz="1108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SIGNMENT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D2CD39D7-5ECB-F645-8460-FDC18F7033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21394" y="1617024"/>
            <a:ext cx="5944839" cy="3238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  <a:p>
            <a:pPr lvl="1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uxième niveau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E6EAAB33-846F-764C-839C-924D28A1509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21394" y="2027129"/>
            <a:ext cx="5944839" cy="72067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ACF3FFD9-C7DF-0E4F-83A4-94722E9B3C5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1394" y="2834499"/>
            <a:ext cx="5944839" cy="2836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175AEE5F-9FCB-9642-B78A-B441A1FCA4E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21394" y="3226917"/>
            <a:ext cx="5944839" cy="59440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91724ADA-78A3-D34C-A990-80C57A22F1A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1394" y="3897053"/>
            <a:ext cx="5944839" cy="6994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4FEE905C-078F-4143-B1FA-F4C0F84FF77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11463" y="4737513"/>
            <a:ext cx="5944839" cy="6994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8E7BA8A4-497A-B346-957D-AF0EB2C9A2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10369" y="5534112"/>
            <a:ext cx="5944839" cy="5951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2FC9DD98-0381-934A-A9E7-12E171788C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9AB3AC1-B3F7-CA48-9399-6ACAEBF85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8249305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6F606EC-E71D-4DE7-8189-E0E12E53C37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3774373" y="-11430"/>
            <a:ext cx="5369627" cy="6869430"/>
          </a:xfrm>
          <a:custGeom>
            <a:avLst/>
            <a:gdLst>
              <a:gd name="connsiteX0" fmla="*/ 4560570 w 7155180"/>
              <a:gd name="connsiteY0" fmla="*/ 0 h 6880860"/>
              <a:gd name="connsiteX1" fmla="*/ 7155180 w 7155180"/>
              <a:gd name="connsiteY1" fmla="*/ 6880860 h 6880860"/>
              <a:gd name="connsiteX2" fmla="*/ 0 w 7155180"/>
              <a:gd name="connsiteY2" fmla="*/ 6869430 h 6880860"/>
              <a:gd name="connsiteX3" fmla="*/ 0 w 7155180"/>
              <a:gd name="connsiteY3" fmla="*/ 11430 h 6880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5180" h="6880860">
                <a:moveTo>
                  <a:pt x="4560570" y="0"/>
                </a:moveTo>
                <a:lnTo>
                  <a:pt x="7155180" y="6880860"/>
                </a:lnTo>
                <a:lnTo>
                  <a:pt x="0" y="6869430"/>
                </a:lnTo>
                <a:lnTo>
                  <a:pt x="0" y="114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9297184-CA0B-CF43-B975-F6A3FE634E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4584124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351E436-F6B3-DF4B-B106-DB94F8F80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4617358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7E134F-66E9-654A-B1FF-C2C536030585}"/>
              </a:ext>
            </a:extLst>
          </p:cNvPr>
          <p:cNvSpPr/>
          <p:nvPr/>
        </p:nvSpPr>
        <p:spPr>
          <a:xfrm>
            <a:off x="151817" y="6201308"/>
            <a:ext cx="598220" cy="5760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62" b="0" i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91305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s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ADED4126-C3FB-4228-97BE-05DDB013385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619632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8C575F5B-47F4-43B4-8AEB-2C42B3AFFE5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39189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1C85F41-E610-4A01-A3BB-97AFA751CA2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658744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CA4950EE-8961-4BD5-BD35-95E34189F01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0075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7AB1CF83-5012-4FCA-8355-CACD6BDB102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619632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A705D39-1F6E-461A-9C0B-1B74EA88E5C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39189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D40A2BFA-FA23-4DB9-A4D1-00FD102CE6E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658744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48D6C942-265D-41F7-8402-B78250CD59C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0075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26DADD1-11D8-7344-AB73-C218377EF0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66C6162E-9289-4848-8AAF-A36BA4C7FA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3C75CC7-9AD0-6D4E-9018-B723395BC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42977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EABAA97-BBF4-4E00-BAFD-36622F484FD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3964" y="1488249"/>
            <a:ext cx="3665269" cy="2145730"/>
          </a:xfrm>
          <a:custGeom>
            <a:avLst/>
            <a:gdLst>
              <a:gd name="connsiteX0" fmla="*/ 0 w 4887025"/>
              <a:gd name="connsiteY0" fmla="*/ 0 h 2145730"/>
              <a:gd name="connsiteX1" fmla="*/ 4887025 w 4887025"/>
              <a:gd name="connsiteY1" fmla="*/ 0 h 2145730"/>
              <a:gd name="connsiteX2" fmla="*/ 4887025 w 4887025"/>
              <a:gd name="connsiteY2" fmla="*/ 2145730 h 2145730"/>
              <a:gd name="connsiteX3" fmla="*/ 0 w 4887025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025" h="2145730">
                <a:moveTo>
                  <a:pt x="0" y="0"/>
                </a:moveTo>
                <a:lnTo>
                  <a:pt x="4887025" y="0"/>
                </a:lnTo>
                <a:lnTo>
                  <a:pt x="4887025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277ECAD-C044-40C9-8E2C-E49BC76AC60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64770" y="1488248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53108A3-63E7-45B1-840D-C1244CC8C53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0172" y="1488247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4F9421AD-0756-485F-ACB9-6DC303DB292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3963" y="3861050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8E13A1C8-E6F6-4031-9585-0087F0F631C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739365" y="3861049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20D6C4B0-49C9-4599-B994-8B2758DC727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64766" y="3861048"/>
            <a:ext cx="3665271" cy="2145730"/>
          </a:xfrm>
          <a:custGeom>
            <a:avLst/>
            <a:gdLst>
              <a:gd name="connsiteX0" fmla="*/ 0 w 4887028"/>
              <a:gd name="connsiteY0" fmla="*/ 0 h 2145730"/>
              <a:gd name="connsiteX1" fmla="*/ 4887028 w 4887028"/>
              <a:gd name="connsiteY1" fmla="*/ 0 h 2145730"/>
              <a:gd name="connsiteX2" fmla="*/ 4887028 w 4887028"/>
              <a:gd name="connsiteY2" fmla="*/ 2145730 h 2145730"/>
              <a:gd name="connsiteX3" fmla="*/ 0 w 4887028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028" h="2145730">
                <a:moveTo>
                  <a:pt x="0" y="0"/>
                </a:moveTo>
                <a:lnTo>
                  <a:pt x="4887028" y="0"/>
                </a:lnTo>
                <a:lnTo>
                  <a:pt x="4887028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B42F81C-5859-F145-9D59-2CB333F7E9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C5DBA548-1EE0-3B4D-926E-24DEAFCCE5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3D39B4B-A3A9-2249-BAA2-0090D48A7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25936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pic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4F69C54-690D-7749-AB37-BE76AA1C3AD9}"/>
              </a:ext>
            </a:extLst>
          </p:cNvPr>
          <p:cNvSpPr/>
          <p:nvPr/>
        </p:nvSpPr>
        <p:spPr>
          <a:xfrm>
            <a:off x="3242622" y="6309320"/>
            <a:ext cx="2625522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62" b="0" i="0">
                <a:latin typeface="Segoe UI Light" panose="020B0502040204020203" pitchFamily="34" charset="0"/>
              </a:rPr>
              <a:t>v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79E6F81-F76C-4418-A71F-948B5A1731D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181290" y="-2"/>
            <a:ext cx="1965770" cy="6858002"/>
          </a:xfrm>
          <a:custGeom>
            <a:avLst/>
            <a:gdLst>
              <a:gd name="connsiteX0" fmla="*/ 0 w 2621027"/>
              <a:gd name="connsiteY0" fmla="*/ 0 h 6858002"/>
              <a:gd name="connsiteX1" fmla="*/ 2621027 w 2621027"/>
              <a:gd name="connsiteY1" fmla="*/ 0 h 6858002"/>
              <a:gd name="connsiteX2" fmla="*/ 2621027 w 2621027"/>
              <a:gd name="connsiteY2" fmla="*/ 6858002 h 6858002"/>
              <a:gd name="connsiteX3" fmla="*/ 0 w 2621027"/>
              <a:gd name="connsiteY3" fmla="*/ 6858002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1027" h="6858002">
                <a:moveTo>
                  <a:pt x="0" y="0"/>
                </a:moveTo>
                <a:lnTo>
                  <a:pt x="2621027" y="0"/>
                </a:lnTo>
                <a:lnTo>
                  <a:pt x="2621027" y="6858002"/>
                </a:lnTo>
                <a:lnTo>
                  <a:pt x="0" y="685800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DC8EFB7-B364-47A2-AEDC-00960DD8AF2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9408" y="0"/>
            <a:ext cx="2017697" cy="3384330"/>
          </a:xfrm>
          <a:custGeom>
            <a:avLst/>
            <a:gdLst>
              <a:gd name="connsiteX0" fmla="*/ 0 w 2690262"/>
              <a:gd name="connsiteY0" fmla="*/ 0 h 3384330"/>
              <a:gd name="connsiteX1" fmla="*/ 2690262 w 2690262"/>
              <a:gd name="connsiteY1" fmla="*/ 0 h 3384330"/>
              <a:gd name="connsiteX2" fmla="*/ 2690262 w 2690262"/>
              <a:gd name="connsiteY2" fmla="*/ 3384330 h 3384330"/>
              <a:gd name="connsiteX3" fmla="*/ 0 w 2690262"/>
              <a:gd name="connsiteY3" fmla="*/ 3384330 h 338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0262" h="3384330">
                <a:moveTo>
                  <a:pt x="0" y="0"/>
                </a:moveTo>
                <a:lnTo>
                  <a:pt x="2690262" y="0"/>
                </a:lnTo>
                <a:lnTo>
                  <a:pt x="2690262" y="3384330"/>
                </a:lnTo>
                <a:lnTo>
                  <a:pt x="0" y="3384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7513B07-4A69-47F3-BF43-6384706963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089408" y="3473670"/>
            <a:ext cx="2017697" cy="3384330"/>
          </a:xfrm>
          <a:custGeom>
            <a:avLst/>
            <a:gdLst>
              <a:gd name="connsiteX0" fmla="*/ 0 w 2690262"/>
              <a:gd name="connsiteY0" fmla="*/ 0 h 3384330"/>
              <a:gd name="connsiteX1" fmla="*/ 2690262 w 2690262"/>
              <a:gd name="connsiteY1" fmla="*/ 0 h 3384330"/>
              <a:gd name="connsiteX2" fmla="*/ 2690262 w 2690262"/>
              <a:gd name="connsiteY2" fmla="*/ 3384330 h 3384330"/>
              <a:gd name="connsiteX3" fmla="*/ 0 w 2690262"/>
              <a:gd name="connsiteY3" fmla="*/ 3384330 h 338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0262" h="3384330">
                <a:moveTo>
                  <a:pt x="0" y="0"/>
                </a:moveTo>
                <a:lnTo>
                  <a:pt x="2690262" y="0"/>
                </a:lnTo>
                <a:lnTo>
                  <a:pt x="2690262" y="3384330"/>
                </a:lnTo>
                <a:lnTo>
                  <a:pt x="0" y="3384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F52C1A-C3CD-CA46-97CD-B7F0893FC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38862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0E22066D-59D7-954A-9A1E-036E327370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FA4B261-A6C0-CC46-8542-291E88297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7692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3850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764505" y="1222375"/>
            <a:ext cx="4052470" cy="4832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800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6" y="241252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779E4D4-BDB8-478E-A8E1-9F7D943117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0" y="1222411"/>
            <a:ext cx="4254365" cy="48323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FD5281FC-DEA9-426C-86E2-9E3DB2D08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- </a:t>
            </a:r>
            <a:fld id="{32542D6D-A1A3-47CA-B985-9FACF2720559}" type="slidenum">
              <a:rPr lang="fr-FR" smtClean="0"/>
              <a:pPr/>
              <a:t>‹N°›</a:t>
            </a:fld>
            <a:r>
              <a:rPr lang="fr-FR"/>
              <a:t> -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0C7D5E15-625E-4B4D-BB29-C6A796F52A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AB850CE4-2E39-4F1B-9479-6DC263BA40BA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312162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pics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DAA3CD-5647-F14F-A7B8-B88059DA9B43}"/>
              </a:ext>
            </a:extLst>
          </p:cNvPr>
          <p:cNvSpPr/>
          <p:nvPr/>
        </p:nvSpPr>
        <p:spPr>
          <a:xfrm>
            <a:off x="3242622" y="6309320"/>
            <a:ext cx="2625522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62" b="0" i="0">
                <a:latin typeface="Segoe UI Light" panose="020B0502040204020203" pitchFamily="34" charset="0"/>
              </a:rPr>
              <a:t>v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434CB8D0-D59C-4D68-81E3-A6D1431A71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95260" y="164388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C87BC13F-0E4D-4CE6-90A9-DFA22DE9CD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95260" y="2219221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D0B65217-5749-46F0-8CAB-6D71279DE44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95261" y="4274050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E13CF094-A329-4D2A-9DFD-3D9EB3B314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47533" y="164386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B56F9E2F-4FDB-4DBD-B223-674B1324199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47533" y="2746705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4FEEE239-474C-45B0-8624-C52E411800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47533" y="4799905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0A0FDDBC-9764-435B-9487-94326EB8A0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98845" y="164388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90EE34F-0B03-47CF-BC9F-4BC9A0D445A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98845" y="2219220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57BBAAE-8ACB-446E-8349-A7EA1DD074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98845" y="4274050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EF87CBF-E2CB-9A42-8134-29D298E24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2556822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3AC5BD6-EE41-334A-8DC5-5AD0B4ACD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C384C370-E765-884A-B453-D3AFF5C4E2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82827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bat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DC2A07F-A71C-4649-A0BD-EB51EB58FA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587" y="1268413"/>
            <a:ext cx="2624503" cy="39243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F72A3E-7267-C741-9065-F5931E1FD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BE5E838-2D41-074D-80EE-4F993E6E49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728700"/>
            <a:ext cx="2556822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9CA01C99-3F22-2549-AE67-B742C6CA35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60648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26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4594826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1477" b="0" i="0" baseline="0">
              <a:latin typeface="Segoe UI" panose="020B0502040204020203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id="{B91C5F77-F5BB-4753-B200-70E9F2477A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11769" y="6407719"/>
            <a:ext cx="976267" cy="301756"/>
          </a:xfrm>
          <a:prstGeom prst="rect">
            <a:avLst/>
          </a:prstGeom>
        </p:spPr>
        <p:txBody>
          <a:bodyPr anchor="ctr"/>
          <a:lstStyle>
            <a:lvl1pPr algn="ctr">
              <a:defRPr sz="10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1FAE3667-EB04-45DD-B79A-6B681E86A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4247" y="6407719"/>
            <a:ext cx="5055507" cy="301756"/>
          </a:xfrm>
          <a:prstGeom prst="rect">
            <a:avLst/>
          </a:prstGeom>
        </p:spPr>
        <p:txBody>
          <a:bodyPr anchor="ctr"/>
          <a:lstStyle>
            <a:lvl1pPr algn="ctr">
              <a:defRPr sz="10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/>
              <a:t>testttttttttttttttttt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EC5745F2-CAB9-4626-9D96-F502EE4C6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05836" y="6407719"/>
            <a:ext cx="520176" cy="301756"/>
          </a:xfrm>
          <a:prstGeom prst="rect">
            <a:avLst/>
          </a:prstGeom>
        </p:spPr>
        <p:txBody>
          <a:bodyPr rIns="0" anchor="ctr"/>
          <a:lstStyle>
            <a:lvl1pPr algn="r">
              <a:defRPr sz="1015" b="0">
                <a:solidFill>
                  <a:schemeClr val="tx2"/>
                </a:solidFill>
              </a:defRPr>
            </a:lvl1pPr>
          </a:lstStyle>
          <a:p>
            <a:fld id="{5B4B94EB-EA19-4609-98BF-9B9B2F67486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6E3F56A-B978-4FC8-BBBC-E2513A549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989" y="260350"/>
            <a:ext cx="8508023" cy="406400"/>
          </a:xfrm>
        </p:spPr>
        <p:txBody>
          <a:bodyPr anchor="b">
            <a:normAutofit/>
          </a:bodyPr>
          <a:lstStyle>
            <a:lvl1pPr>
              <a:defRPr sz="1477" b="1"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2410BE33-DA7F-41D2-BB8A-AF34FCAD45D0}"/>
              </a:ext>
            </a:extLst>
          </p:cNvPr>
          <p:cNvCxnSpPr/>
          <p:nvPr userDrawn="1"/>
        </p:nvCxnSpPr>
        <p:spPr>
          <a:xfrm>
            <a:off x="317989" y="693420"/>
            <a:ext cx="30099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DD66314-9254-4080-8ACA-D2FCC8B073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7989" y="981075"/>
            <a:ext cx="8508023" cy="5219700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03604275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5927FC9-AFBA-4533-BCE9-BF2203BFF6ED}"/>
              </a:ext>
            </a:extLst>
          </p:cNvPr>
          <p:cNvCxnSpPr>
            <a:cxnSpLocks/>
          </p:cNvCxnSpPr>
          <p:nvPr userDrawn="1"/>
        </p:nvCxnSpPr>
        <p:spPr>
          <a:xfrm>
            <a:off x="327259" y="683400"/>
            <a:ext cx="0" cy="317630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528013" cy="385003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ECA01A5-9C59-4784-BBEC-6A9AE46AA63E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641320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C0D204FE-FE6B-4844-AAAA-44AD6ABCD3D1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264113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4CFA60C5-EEF6-48FC-BB4B-3D6FF725B63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2716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6B92C14B-F92C-4DC7-B9B0-1F148CA7590E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329924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713254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0092F912-B3BA-45C5-BF3C-316DEE7081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43"/>
            <a:ext cx="9144000" cy="6858000"/>
          </a:xfrm>
          <a:prstGeom prst="rect">
            <a:avLst/>
          </a:prstGeom>
        </p:spPr>
      </p:pic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6BD64E6-7D0A-4CB2-A9C7-EC804AEDB7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4596" y="2059806"/>
            <a:ext cx="5091113" cy="15682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954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u document</a:t>
            </a:r>
          </a:p>
          <a:p>
            <a:pPr lvl="0"/>
            <a:r>
              <a:rPr lang="fr-FR"/>
              <a:t>Sur une ou plusieurs</a:t>
            </a:r>
          </a:p>
          <a:p>
            <a:pPr lvl="0"/>
            <a:r>
              <a:rPr lang="fr-FR"/>
              <a:t>lign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22ABB55-29A3-480E-8119-2AE2E5461AAC}"/>
              </a:ext>
            </a:extLst>
          </p:cNvPr>
          <p:cNvSpPr txBox="1"/>
          <p:nvPr userDrawn="1"/>
        </p:nvSpPr>
        <p:spPr>
          <a:xfrm>
            <a:off x="3224596" y="3570257"/>
            <a:ext cx="2545556" cy="433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215" b="1"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5C9E19A4-BD56-40B1-9317-DB94B234F8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4596" y="3974173"/>
            <a:ext cx="5091113" cy="857711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769" b="0">
                <a:solidFill>
                  <a:srgbClr val="64B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-Titre ou date</a:t>
            </a:r>
          </a:p>
        </p:txBody>
      </p:sp>
    </p:spTree>
    <p:extLst>
      <p:ext uri="{BB962C8B-B14F-4D97-AF65-F5344CB8AC3E}">
        <p14:creationId xmlns:p14="http://schemas.microsoft.com/office/powerpoint/2010/main" val="93770617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04462633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03750972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B04862A-A275-4962-837D-438AAAF79A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3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109893386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15DC091-25E3-4F9C-B34E-AA51D7B4FFF2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39644476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1594004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82653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56FD2439-64DA-45E7-AD7E-3AFEB4F6F8FA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B46104AB-D2FF-413D-B669-CFF0A34C7A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6" y="241252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7" name="Espace réservé du pied de page 2">
            <a:extLst>
              <a:ext uri="{FF2B5EF4-FFF2-40B4-BE49-F238E27FC236}">
                <a16:creationId xmlns:a16="http://schemas.microsoft.com/office/drawing/2014/main" id="{83BB463B-8150-4CB4-AD71-8446D1DFCD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- </a:t>
            </a:r>
            <a:fld id="{32542D6D-A1A3-47CA-B985-9FACF2720559}" type="slidenum">
              <a:rPr lang="fr-FR" smtClean="0"/>
              <a:pPr/>
              <a:t>‹N°›</a:t>
            </a:fld>
            <a:r>
              <a:rPr lang="fr-F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29450030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B04862A-A275-4962-837D-438AAAF79A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6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07075919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15DC091-25E3-4F9C-B34E-AA51D7B4FFF2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72720704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8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37481345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23D136EC-68F7-40A4-B62E-3FB85FCAA0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100" y="1884227"/>
            <a:ext cx="2765726" cy="4162009"/>
          </a:xfrm>
        </p:spPr>
        <p:txBody>
          <a:bodyPr>
            <a:normAutofit/>
          </a:bodyPr>
          <a:lstStyle>
            <a:lvl1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22041" indent="0">
              <a:buNone/>
              <a:defRPr sz="1108">
                <a:latin typeface="+mj-lt"/>
                <a:cs typeface="Calibri" panose="020F0502020204030204" pitchFamily="34" charset="0"/>
              </a:defRPr>
            </a:lvl2pPr>
            <a:lvl3pPr>
              <a:defRPr sz="1015">
                <a:latin typeface="+mj-lt"/>
                <a:cs typeface="Calibri" panose="020F0502020204030204" pitchFamily="34" charset="0"/>
              </a:defRPr>
            </a:lvl3pPr>
            <a:lvl4pPr>
              <a:defRPr sz="969">
                <a:latin typeface="+mj-lt"/>
                <a:cs typeface="Calibri" panose="020F0502020204030204" pitchFamily="34" charset="0"/>
              </a:defRPr>
            </a:lvl4pPr>
            <a:lvl5pPr>
              <a:defRPr sz="969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37DC2DC6-55F2-46F5-B80E-6BBD9A4A51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53246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292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56100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292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AD65204-B0CB-4991-8B0C-B9746E3D22B7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150391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292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9B9BB416-C38E-4CBD-A8EC-4331FBE8150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50391" y="1892716"/>
            <a:ext cx="2765726" cy="4162009"/>
          </a:xfrm>
        </p:spPr>
        <p:txBody>
          <a:bodyPr>
            <a:normAutofit/>
          </a:bodyPr>
          <a:lstStyle>
            <a:lvl1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+mj-lt"/>
                <a:cs typeface="Calibri" panose="020F0502020204030204" pitchFamily="34" charset="0"/>
              </a:defRPr>
            </a:lvl2pPr>
            <a:lvl3pPr>
              <a:defRPr sz="1015">
                <a:latin typeface="+mj-lt"/>
                <a:cs typeface="Calibri" panose="020F0502020204030204" pitchFamily="34" charset="0"/>
              </a:defRPr>
            </a:lvl3pPr>
            <a:lvl4pPr>
              <a:defRPr sz="969">
                <a:latin typeface="+mj-lt"/>
                <a:cs typeface="Calibri" panose="020F0502020204030204" pitchFamily="34" charset="0"/>
              </a:defRPr>
            </a:lvl4pPr>
            <a:lvl5pPr>
              <a:defRPr sz="969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5F790E96-9E07-46C7-BB7B-B97CB5326FD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74226" y="1892716"/>
            <a:ext cx="2765726" cy="4162009"/>
          </a:xfrm>
        </p:spPr>
        <p:txBody>
          <a:bodyPr>
            <a:normAutofit/>
          </a:bodyPr>
          <a:lstStyle>
            <a:lvl1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+mj-lt"/>
                <a:cs typeface="Calibri" panose="020F0502020204030204" pitchFamily="34" charset="0"/>
              </a:defRPr>
            </a:lvl2pPr>
            <a:lvl3pPr>
              <a:defRPr sz="1015">
                <a:latin typeface="+mj-lt"/>
                <a:cs typeface="Calibri" panose="020F0502020204030204" pitchFamily="34" charset="0"/>
              </a:defRPr>
            </a:lvl3pPr>
            <a:lvl4pPr>
              <a:defRPr sz="969">
                <a:latin typeface="+mj-lt"/>
                <a:cs typeface="Calibri" panose="020F0502020204030204" pitchFamily="34" charset="0"/>
              </a:defRPr>
            </a:lvl4pPr>
            <a:lvl5pPr>
              <a:defRPr sz="969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524F7423-5AA9-41B0-AC88-72E5CE075E95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79200EC6-7668-4554-BA1F-8FB9F3D0AA89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057BEAD0-7179-4613-8BBF-D38D717B07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8820105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5927FC9-AFBA-4533-BCE9-BF2203BFF6ED}"/>
              </a:ext>
            </a:extLst>
          </p:cNvPr>
          <p:cNvCxnSpPr>
            <a:cxnSpLocks/>
          </p:cNvCxnSpPr>
          <p:nvPr userDrawn="1"/>
        </p:nvCxnSpPr>
        <p:spPr>
          <a:xfrm>
            <a:off x="327259" y="683400"/>
            <a:ext cx="0" cy="317630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528013" cy="385003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ECA01A5-9C59-4784-BBEC-6A9AE46AA63E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pic>
        <p:nvPicPr>
          <p:cNvPr id="25" name="Picture 1" descr="K:\A - Kit présentations\4 - Charte VERTONE et icones\Logo\1 - Nouveau logo 2011\VERTONE_logo3_SD-01.gif">
            <a:extLst>
              <a:ext uri="{FF2B5EF4-FFF2-40B4-BE49-F238E27FC236}">
                <a16:creationId xmlns:a16="http://schemas.microsoft.com/office/drawing/2014/main" id="{034C2EA5-AA95-42FD-BB85-7586551346B5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259" y="6575623"/>
            <a:ext cx="789558" cy="117561"/>
          </a:xfrm>
          <a:prstGeom prst="rect">
            <a:avLst/>
          </a:prstGeom>
          <a:noFill/>
        </p:spPr>
      </p:pic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641320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C0D204FE-FE6B-4844-AAAA-44AD6ABCD3D1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264113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4CFA60C5-EEF6-48FC-BB4B-3D6FF725B63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2716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6B92C14B-F92C-4DC7-B9B0-1F148CA7590E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329924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619853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23D136EC-68F7-40A4-B62E-3FB85FCAA0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8975" y="1892717"/>
            <a:ext cx="4055418" cy="4162009"/>
          </a:xfrm>
        </p:spPr>
        <p:txBody>
          <a:bodyPr>
            <a:normAutofit/>
          </a:bodyPr>
          <a:lstStyle>
            <a:lvl1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AF82D6C-05AD-4A3B-9A0F-7E99EA669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7289" y="1892716"/>
            <a:ext cx="4055418" cy="4162009"/>
          </a:xfrm>
        </p:spPr>
        <p:txBody>
          <a:bodyPr>
            <a:normAutofit/>
          </a:bodyPr>
          <a:lstStyle>
            <a:lvl1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37DC2DC6-55F2-46F5-B80E-6BBD9A4A51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8975" y="1315261"/>
            <a:ext cx="401239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477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ED96272C-C29E-4B8F-8073-992D8FBE75D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821464" y="1315261"/>
            <a:ext cx="3995278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477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D632AA5-753E-4916-A319-0A6C615E0C6D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9CC12674-EC59-4076-8219-D2C1A0BCF719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9FA4E1DF-DD69-44BB-9121-48D12C0E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281113895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764505" y="1496755"/>
            <a:ext cx="4052470" cy="45579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779E4D4-BDB8-478E-A8E1-9F7D943117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1" y="1496788"/>
            <a:ext cx="4254365" cy="4557936"/>
          </a:xfrm>
        </p:spPr>
        <p:txBody>
          <a:bodyPr>
            <a:normAutofit/>
          </a:bodyPr>
          <a:lstStyle>
            <a:lvl1pPr>
              <a:defRPr sz="1477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65CF8628-91D6-4E9B-8967-4C8B279A254D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76934DA3-D27C-46C2-8B71-5BBBF81B4296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093E479F-49BA-4ED5-8CCE-A54EAD6019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0010854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31D465F2-425C-4D30-8465-DB3FF4C160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101" y="5601904"/>
            <a:ext cx="8460640" cy="452389"/>
          </a:xfrm>
        </p:spPr>
        <p:txBody>
          <a:bodyPr>
            <a:normAutofit/>
          </a:bodyPr>
          <a:lstStyle>
            <a:lvl1pPr marL="0" indent="0">
              <a:buNone/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7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Insérer ici la légend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7259" y="1222376"/>
            <a:ext cx="8489716" cy="42062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C10C022-5075-4122-8A74-4E8549572827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07EC75A-ADBD-454D-A76D-CB2F9FAB04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411" y="275797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12" name="Espace réservé du numéro de diapositive 6">
            <a:extLst>
              <a:ext uri="{FF2B5EF4-FFF2-40B4-BE49-F238E27FC236}">
                <a16:creationId xmlns:a16="http://schemas.microsoft.com/office/drawing/2014/main" id="{0C00F324-1AA0-4A39-AB49-44BCCA061610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 dirty="0">
              <a:latin typeface="Calibri" panose="020F0502020204030204" pitchFamily="34" charset="0"/>
            </a:endParaRP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73D097ED-A4DB-4B51-9E95-060FD94CED29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4784FB27-F38F-4309-83E6-84A9FFD77256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329876F9-07D9-4A16-ADED-E0654F766D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491188332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56FD2439-64DA-45E7-AD7E-3AFEB4F6F8FA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B46104AB-D2FF-413D-B669-CFF0A34C7A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91750D94-AFF6-4983-82C0-6A78F55646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D6108724-3766-474E-BB52-AA12F8FDA54D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9" name="Parenthèses 8">
            <a:extLst>
              <a:ext uri="{FF2B5EF4-FFF2-40B4-BE49-F238E27FC236}">
                <a16:creationId xmlns:a16="http://schemas.microsoft.com/office/drawing/2014/main" id="{C3B1287E-4B2B-4AF7-BAA1-999B9F536A2E}"/>
              </a:ext>
            </a:extLst>
          </p:cNvPr>
          <p:cNvSpPr/>
          <p:nvPr userDrawn="1"/>
        </p:nvSpPr>
        <p:spPr>
          <a:xfrm rot="390995">
            <a:off x="7082794" y="193665"/>
            <a:ext cx="1836000" cy="246408"/>
          </a:xfrm>
          <a:prstGeom prst="bracketPair">
            <a:avLst/>
          </a:prstGeom>
          <a:solidFill>
            <a:srgbClr val="FFC5C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8">
                <a:solidFill>
                  <a:srgbClr val="FF0000"/>
                </a:solidFill>
              </a:rPr>
              <a:t>Version de travail</a:t>
            </a:r>
          </a:p>
        </p:txBody>
      </p:sp>
    </p:spTree>
    <p:extLst>
      <p:ext uri="{BB962C8B-B14F-4D97-AF65-F5344CB8AC3E}">
        <p14:creationId xmlns:p14="http://schemas.microsoft.com/office/powerpoint/2010/main" val="263927274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AEC7BF55-A16A-49C1-AE68-02E80A567E01}"/>
              </a:ext>
            </a:extLst>
          </p:cNvPr>
          <p:cNvCxnSpPr/>
          <p:nvPr userDrawn="1"/>
        </p:nvCxnSpPr>
        <p:spPr>
          <a:xfrm>
            <a:off x="327260" y="52544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77414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9AF36373-29E5-4E52-91A9-4653A72D1DBE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6EB8E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29C038B-63C9-41DE-8C9D-07E34B585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1" y="1222413"/>
            <a:ext cx="8556857" cy="4832313"/>
          </a:xfrm>
        </p:spPr>
        <p:txBody>
          <a:bodyPr>
            <a:normAutofit/>
          </a:bodyPr>
          <a:lstStyle>
            <a:lvl1pPr>
              <a:defRPr sz="15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35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05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219733396"/>
      </p:ext>
    </p:extLst>
  </p:cSld>
  <p:clrMapOvr>
    <a:masterClrMapping/>
  </p:clrMapOvr>
  <p:hf hdr="0" ftr="0" dt="0"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EB5686E0-D12E-4E20-B4BD-F9E63E0B5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460640" cy="38500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215" b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29C038B-63C9-41DE-8C9D-07E34B585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0" y="1222413"/>
            <a:ext cx="8556857" cy="48323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46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77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E3214949-0725-4429-9BDC-4624A0D0BD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testttttttttttttttttt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C935C2CC-C68B-4CBC-8511-CB192F8D0099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820408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460640" cy="38500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215" b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31D465F2-425C-4D30-8465-DB3FF4C160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101" y="5601904"/>
            <a:ext cx="8460640" cy="452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7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Insérer ici la légend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7259" y="1222376"/>
            <a:ext cx="8489716" cy="4206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07EC75A-ADBD-454D-A76D-CB2F9FAB04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8D081CFA-44B1-4E62-831F-6DA15E6E7E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testttttttttttttttttt</a:t>
            </a:r>
          </a:p>
        </p:txBody>
      </p:sp>
    </p:spTree>
    <p:extLst>
      <p:ext uri="{BB962C8B-B14F-4D97-AF65-F5344CB8AC3E}">
        <p14:creationId xmlns:p14="http://schemas.microsoft.com/office/powerpoint/2010/main" val="17714067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460640" cy="3850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31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764505" y="1222375"/>
            <a:ext cx="4052470" cy="4832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779E4D4-BDB8-478E-A8E1-9F7D943117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1" y="1222413"/>
            <a:ext cx="4254365" cy="48323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46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77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FD5281FC-DEA9-426C-86E2-9E3DB2D08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testttttttttttttttttt</a:t>
            </a:r>
          </a:p>
        </p:txBody>
      </p:sp>
    </p:spTree>
    <p:extLst>
      <p:ext uri="{BB962C8B-B14F-4D97-AF65-F5344CB8AC3E}">
        <p14:creationId xmlns:p14="http://schemas.microsoft.com/office/powerpoint/2010/main" val="159981088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56FD2439-64DA-45E7-AD7E-3AFEB4F6F8FA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B46104AB-D2FF-413D-B669-CFF0A34C7A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7" name="Espace réservé du pied de page 2">
            <a:extLst>
              <a:ext uri="{FF2B5EF4-FFF2-40B4-BE49-F238E27FC236}">
                <a16:creationId xmlns:a16="http://schemas.microsoft.com/office/drawing/2014/main" id="{83BB463B-8150-4CB4-AD71-8446D1DFCD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testttttttttttttttttt</a:t>
            </a:r>
          </a:p>
        </p:txBody>
      </p:sp>
    </p:spTree>
    <p:extLst>
      <p:ext uri="{BB962C8B-B14F-4D97-AF65-F5344CB8AC3E}">
        <p14:creationId xmlns:p14="http://schemas.microsoft.com/office/powerpoint/2010/main" val="3775398564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9AF36373-29E5-4E52-91A9-4653A72D1DBE}"/>
              </a:ext>
            </a:extLst>
          </p:cNvPr>
          <p:cNvCxnSpPr/>
          <p:nvPr userDrawn="1"/>
        </p:nvCxnSpPr>
        <p:spPr>
          <a:xfrm>
            <a:off x="327261" y="519766"/>
            <a:ext cx="8489482" cy="0"/>
          </a:xfrm>
          <a:prstGeom prst="line">
            <a:avLst/>
          </a:prstGeom>
          <a:ln>
            <a:solidFill>
              <a:srgbClr val="6EB8E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29C038B-63C9-41DE-8C9D-07E34B585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2" y="1222415"/>
            <a:ext cx="8556857" cy="4832313"/>
          </a:xfrm>
        </p:spPr>
        <p:txBody>
          <a:bodyPr>
            <a:normAutofit/>
          </a:bodyPr>
          <a:lstStyle>
            <a:lvl1pPr>
              <a:defRPr sz="1385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46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067478212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25091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91750D94-AFF6-4983-82C0-6A78F55646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D6108724-3766-474E-BB52-AA12F8FDA54D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71178A14-599C-45D9-9BF0-1765FB3E4946}"/>
              </a:ext>
            </a:extLst>
          </p:cNvPr>
          <p:cNvCxnSpPr/>
          <p:nvPr userDrawn="1"/>
        </p:nvCxnSpPr>
        <p:spPr>
          <a:xfrm>
            <a:off x="341680" y="1025953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518260E-717C-49B2-B426-FB3B8405D2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522" y="133763"/>
            <a:ext cx="8460640" cy="888040"/>
          </a:xfrm>
        </p:spPr>
        <p:txBody>
          <a:bodyPr anchor="ctr">
            <a:noAutofit/>
          </a:bodyPr>
          <a:lstStyle>
            <a:lvl1pPr marL="0" indent="0">
              <a:buNone/>
              <a:defRPr sz="2215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A3944C04-0B8D-437B-9ED1-145E37382367}"/>
              </a:ext>
            </a:extLst>
          </p:cNvPr>
          <p:cNvCxnSpPr>
            <a:cxnSpLocks/>
          </p:cNvCxnSpPr>
          <p:nvPr userDrawn="1"/>
        </p:nvCxnSpPr>
        <p:spPr>
          <a:xfrm>
            <a:off x="345903" y="127415"/>
            <a:ext cx="0" cy="894388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" descr="K:\A - Kit présentations\4 - Charte VERTONE et icones\Logo\1 - Nouveau logo 2011\VERTONE_logo3_SD-01.gif">
            <a:extLst>
              <a:ext uri="{FF2B5EF4-FFF2-40B4-BE49-F238E27FC236}">
                <a16:creationId xmlns:a16="http://schemas.microsoft.com/office/drawing/2014/main" id="{B7355B21-617A-499A-BE53-A13098DADE3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259" y="6575623"/>
            <a:ext cx="789558" cy="1175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47219871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8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504" y="548687"/>
            <a:ext cx="8640000" cy="5988887"/>
          </a:xfrm>
          <a:prstGeom prst="rect">
            <a:avLst/>
          </a:prstGeom>
        </p:spPr>
      </p:pic>
      <p:sp>
        <p:nvSpPr>
          <p:cNvPr id="5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23529" y="332656"/>
            <a:ext cx="8352928" cy="2880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15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2769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fr-FR"/>
              <a:t>C</a:t>
            </a:r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2"/>
          </p:nvPr>
        </p:nvSpPr>
        <p:spPr>
          <a:xfrm>
            <a:off x="467544" y="764704"/>
            <a:ext cx="8208912" cy="43204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31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2769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fr-FR"/>
              <a:t>C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/>
          </p:nvPr>
        </p:nvSpPr>
        <p:spPr>
          <a:xfrm>
            <a:off x="468324" y="1988842"/>
            <a:ext cx="8208143" cy="3960219"/>
          </a:xfrm>
          <a:prstGeom prst="rect">
            <a:avLst/>
          </a:prstGeom>
        </p:spPr>
        <p:txBody>
          <a:bodyPr numCol="2"/>
          <a:lstStyle>
            <a:lvl1pPr marL="0" indent="0">
              <a:buFontTx/>
              <a:buNone/>
              <a:defRPr sz="1477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200" b="1">
                <a:solidFill>
                  <a:srgbClr val="56B3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ts val="1292"/>
              </a:lnSpc>
              <a:buNone/>
              <a:defRPr sz="1015" b="1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 algn="l">
              <a:lnSpc>
                <a:spcPts val="1292"/>
              </a:lnSpc>
              <a:buFontTx/>
              <a:buNone/>
              <a:defRPr sz="10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8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467555" y="1268760"/>
            <a:ext cx="8208143" cy="648072"/>
          </a:xfrm>
          <a:prstGeom prst="rect">
            <a:avLst/>
          </a:prstGeom>
        </p:spPr>
        <p:txBody>
          <a:bodyPr numCol="1"/>
          <a:lstStyle>
            <a:lvl1pPr marL="0" indent="0">
              <a:buFontTx/>
              <a:buNone/>
              <a:defRPr sz="1477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200" b="1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lnSpc>
                <a:spcPts val="1292"/>
              </a:lnSpc>
              <a:buNone/>
              <a:defRPr sz="1015" b="1">
                <a:latin typeface="Arial" pitchFamily="34" charset="0"/>
                <a:cs typeface="Arial" pitchFamily="34" charset="0"/>
              </a:defRPr>
            </a:lvl3pPr>
            <a:lvl4pPr marL="0" indent="0" algn="l">
              <a:lnSpc>
                <a:spcPts val="1292"/>
              </a:lnSpc>
              <a:buFontTx/>
              <a:buNone/>
              <a:defRPr sz="1015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28110745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au +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numéro de diapositive 17">
            <a:extLst>
              <a:ext uri="{FF2B5EF4-FFF2-40B4-BE49-F238E27FC236}">
                <a16:creationId xmlns:a16="http://schemas.microsoft.com/office/drawing/2014/main" id="{C2CEE769-E6B3-D74C-BF35-411ABF930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0847" y="6554552"/>
            <a:ext cx="267037" cy="10158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54"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fld id="{A02DBDA5-8F39-9846-8B3A-C11234E9599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" name="Espace réservé du tableau 2">
            <a:extLst>
              <a:ext uri="{FF2B5EF4-FFF2-40B4-BE49-F238E27FC236}">
                <a16:creationId xmlns:a16="http://schemas.microsoft.com/office/drawing/2014/main" id="{4474A7FD-450A-4B49-A05A-ACE58C39F32B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278607" y="1631092"/>
            <a:ext cx="8576072" cy="474499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fr-FR"/>
              <a:t>Cliquez sur l'icône pour ajouter un tableau</a:t>
            </a:r>
          </a:p>
        </p:txBody>
      </p:sp>
      <p:sp>
        <p:nvSpPr>
          <p:cNvPr id="11" name="Espace réservé du texte 15">
            <a:extLst>
              <a:ext uri="{FF2B5EF4-FFF2-40B4-BE49-F238E27FC236}">
                <a16:creationId xmlns:a16="http://schemas.microsoft.com/office/drawing/2014/main" id="{95D2A995-CF0E-9C4D-A91A-1D991EBFB9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6542" y="6489702"/>
            <a:ext cx="3584615" cy="198179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ts val="762"/>
              </a:lnSpc>
              <a:buNone/>
              <a:defRPr sz="554" b="0" i="0" spc="69" baseline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316531" indent="0" algn="r">
              <a:buNone/>
              <a:defRPr b="1" i="0">
                <a:solidFill>
                  <a:schemeClr val="tx2"/>
                </a:solidFill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0" indent="0" algn="l">
              <a:buNone/>
              <a:defRPr sz="1246" b="0" i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949593" indent="0" algn="r">
              <a:buNone/>
              <a:defRPr b="1" i="0">
                <a:solidFill>
                  <a:schemeClr val="tx2"/>
                </a:solidFill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0" indent="0" algn="l">
              <a:buNone/>
              <a:defRPr sz="831" b="0" i="1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5">
            <a:extLst>
              <a:ext uri="{FF2B5EF4-FFF2-40B4-BE49-F238E27FC236}">
                <a16:creationId xmlns:a16="http://schemas.microsoft.com/office/drawing/2014/main" id="{29CBF7D8-F65A-B94B-966A-273EAFD731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0430" y="368303"/>
            <a:ext cx="7344965" cy="74937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0" indent="0" algn="l">
              <a:lnSpc>
                <a:spcPts val="1523"/>
              </a:lnSpc>
              <a:buNone/>
              <a:defRPr sz="1385"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0" indent="0" algn="l">
              <a:buNone/>
              <a:defRPr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 algn="l">
              <a:lnSpc>
                <a:spcPts val="1108"/>
              </a:lnSpc>
              <a:buNone/>
              <a:defRPr sz="969" b="0" i="1">
                <a:solidFill>
                  <a:schemeClr val="tx1">
                    <a:lumMod val="7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buNone/>
              <a:defRPr sz="969" b="0" i="1">
                <a:solidFill>
                  <a:schemeClr val="tx1">
                    <a:lumMod val="7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8415" y="-214926"/>
            <a:ext cx="1133954" cy="1438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217278"/>
      </p:ext>
    </p:extLst>
  </p:cSld>
  <p:clrMapOvr>
    <a:masterClrMapping/>
  </p:clrMapOvr>
  <p:transition spd="slow">
    <p:push dir="u"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059307A9-CCA1-C141-8CBA-EF3702A508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1171052-1C83-E947-8934-6A56CD4DB0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716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0DC2DEF-D8DD-D647-9566-83D46914D4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274638"/>
            <a:ext cx="7772400" cy="425450"/>
          </a:xfrm>
        </p:spPr>
        <p:txBody>
          <a:bodyPr>
            <a:normAutofit/>
          </a:bodyPr>
          <a:lstStyle>
            <a:lvl1pPr marL="0" indent="0">
              <a:buNone/>
              <a:defRPr sz="2105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14458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91750D94-AFF6-4983-82C0-6A78F55646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D6108724-3766-474E-BB52-AA12F8FDA54D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71178A14-599C-45D9-9BF0-1765FB3E4946}"/>
              </a:ext>
            </a:extLst>
          </p:cNvPr>
          <p:cNvCxnSpPr/>
          <p:nvPr userDrawn="1"/>
        </p:nvCxnSpPr>
        <p:spPr>
          <a:xfrm>
            <a:off x="341680" y="1025953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518260E-717C-49B2-B426-FB3B8405D2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522" y="133763"/>
            <a:ext cx="8460640" cy="888040"/>
          </a:xfrm>
        </p:spPr>
        <p:txBody>
          <a:bodyPr anchor="ctr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A3944C04-0B8D-437B-9ED1-145E37382367}"/>
              </a:ext>
            </a:extLst>
          </p:cNvPr>
          <p:cNvCxnSpPr>
            <a:cxnSpLocks/>
          </p:cNvCxnSpPr>
          <p:nvPr userDrawn="1"/>
        </p:nvCxnSpPr>
        <p:spPr>
          <a:xfrm>
            <a:off x="345903" y="127415"/>
            <a:ext cx="0" cy="894388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057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69B986-A51F-D245-9BCC-3B1679B13915}"/>
              </a:ext>
            </a:extLst>
          </p:cNvPr>
          <p:cNvSpPr/>
          <p:nvPr/>
        </p:nvSpPr>
        <p:spPr>
          <a:xfrm>
            <a:off x="0" y="5805264"/>
            <a:ext cx="9144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62" b="0" i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437430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E00F004F-2D04-7B4A-A582-B676C48B1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B77093A-8FD9-C743-8AB9-68B77F906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8"/>
            <a:ext cx="7772400" cy="425450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00368218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52424"/>
            <a:ext cx="7772400" cy="4627563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ADDB5E15-B132-604E-A96C-467AD56986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98054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52424"/>
            <a:ext cx="77724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55" indent="-171455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42909" indent="-171455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63" indent="-171455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816" indent="-171455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18470461-A83A-E840-9104-A76AC7AEE9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60648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74188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52424"/>
            <a:ext cx="381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52424"/>
            <a:ext cx="381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11585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B7B9635-D6E8-6542-8038-741450A4A3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54540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065312"/>
            <a:ext cx="3811588" cy="46166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1560285"/>
            <a:ext cx="3811588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65312"/>
            <a:ext cx="3813174" cy="46166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560285"/>
            <a:ext cx="3813174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D6DDDB84-1992-F648-B664-E15D6D7A61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F39B69A-DF0C-C74B-AECB-8C84FDD6DF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46037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3823507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83F19B5F-D435-1149-B342-0F2F0C45FA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620EA93-C2A2-7F47-A352-980A54D240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35242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8076957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54348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9DE56FB2-AE45-264D-BFD7-170416578D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48913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00BEF6B9-7CF7-AD4D-9BD8-DD59844438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4F20D2C-2F58-8341-84A1-6C9C6F946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54348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654CB0F-3CD9-4441-AAA2-6FDC10CAA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86033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3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6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7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3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6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7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4601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8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504" y="548686"/>
            <a:ext cx="8640000" cy="5988887"/>
          </a:xfrm>
          <a:prstGeom prst="rect">
            <a:avLst/>
          </a:prstGeom>
        </p:spPr>
      </p:pic>
      <p:sp>
        <p:nvSpPr>
          <p:cNvPr id="5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23528" y="332656"/>
            <a:ext cx="8352928" cy="2880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1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3000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fr-FR"/>
              <a:t>C</a:t>
            </a:r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2"/>
          </p:nvPr>
        </p:nvSpPr>
        <p:spPr>
          <a:xfrm>
            <a:off x="467544" y="764704"/>
            <a:ext cx="8208912" cy="43204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2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3000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fr-FR"/>
              <a:t>C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/>
          </p:nvPr>
        </p:nvSpPr>
        <p:spPr>
          <a:xfrm>
            <a:off x="468323" y="1988841"/>
            <a:ext cx="8208143" cy="3960219"/>
          </a:xfrm>
          <a:prstGeom prst="rect">
            <a:avLst/>
          </a:prstGeom>
        </p:spPr>
        <p:txBody>
          <a:bodyPr numCol="2"/>
          <a:lstStyle>
            <a:lvl1pPr marL="0" indent="0">
              <a:buFontTx/>
              <a:buNone/>
              <a:defRPr sz="16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300" b="1">
                <a:solidFill>
                  <a:srgbClr val="56B3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ts val="1400"/>
              </a:lnSpc>
              <a:buNone/>
              <a:defRPr sz="1100" b="1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 algn="l">
              <a:lnSpc>
                <a:spcPts val="1400"/>
              </a:lnSpc>
              <a:buFontTx/>
              <a:buNone/>
              <a:defRPr sz="11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8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467554" y="1268760"/>
            <a:ext cx="8208143" cy="648072"/>
          </a:xfrm>
          <a:prstGeom prst="rect">
            <a:avLst/>
          </a:prstGeom>
        </p:spPr>
        <p:txBody>
          <a:bodyPr numCol="1"/>
          <a:lstStyle>
            <a:lvl1pPr marL="0" indent="0">
              <a:buFontTx/>
              <a:buNone/>
              <a:defRPr sz="16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300" b="1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lnSpc>
                <a:spcPts val="1400"/>
              </a:lnSpc>
              <a:buNone/>
              <a:defRPr sz="1100" b="1">
                <a:latin typeface="Arial" pitchFamily="34" charset="0"/>
                <a:cs typeface="Arial" pitchFamily="34" charset="0"/>
              </a:defRPr>
            </a:lvl3pPr>
            <a:lvl4pPr marL="0" indent="0" algn="l">
              <a:lnSpc>
                <a:spcPts val="1400"/>
              </a:lnSpc>
              <a:buFontTx/>
              <a:buNone/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31275413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30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9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7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5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30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9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7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5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2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30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9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7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5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61980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3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6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3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6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7607808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086247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3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6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3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6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79331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6670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482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6294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66B491E-8DB3-F043-AE38-6C1B8D9A25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65619C-6DC0-E340-8E4D-22F8BC9E96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91856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961888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55499977-E8EC-4744-97B7-18E10E4D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A3BACF1-BB88-5B4A-85B4-E6BA0E7023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4369135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961888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6025935A-C352-B34F-8B46-598C300E4B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818EA5D-75AA-DE4E-AE56-1C4B23543A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66132652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0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3A56DBC1-759F-7441-9298-3445D016AE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007D57B-268D-5C4C-AB39-804902E6BD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53348802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0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CF4CDE3-2F4A-FF48-9887-9A9C3DFF9E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D311C3-8CB6-3D4D-9C94-B2893CDD47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4129633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9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8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5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FA31A7D9-010F-474B-9516-467EE97D83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5DA64B4-19D6-4940-8229-DA7356FDE0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24217366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9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8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5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0CA93C7B-3531-4149-9503-30719B4B4A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7319F52-594E-E44B-9500-FA84984DD2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56008330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AAB8E42C-CA33-D44A-9946-4EFC2F8B41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5329BAE-3C57-B340-B862-946356B54B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151414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au +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numéro de diapositive 17">
            <a:extLst>
              <a:ext uri="{FF2B5EF4-FFF2-40B4-BE49-F238E27FC236}">
                <a16:creationId xmlns:a16="http://schemas.microsoft.com/office/drawing/2014/main" id="{C2CEE769-E6B3-D74C-BF35-411ABF930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0846" y="6554550"/>
            <a:ext cx="267037" cy="10158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fld id="{A02DBDA5-8F39-9846-8B3A-C11234E9599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" name="Espace réservé du tableau 2">
            <a:extLst>
              <a:ext uri="{FF2B5EF4-FFF2-40B4-BE49-F238E27FC236}">
                <a16:creationId xmlns:a16="http://schemas.microsoft.com/office/drawing/2014/main" id="{4474A7FD-450A-4B49-A05A-ACE58C39F32B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278607" y="1631092"/>
            <a:ext cx="8576072" cy="474499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fr-FR"/>
              <a:t>Cliquez sur l'icône pour ajouter un tableau</a:t>
            </a:r>
          </a:p>
        </p:txBody>
      </p:sp>
      <p:sp>
        <p:nvSpPr>
          <p:cNvPr id="11" name="Espace réservé du texte 15">
            <a:extLst>
              <a:ext uri="{FF2B5EF4-FFF2-40B4-BE49-F238E27FC236}">
                <a16:creationId xmlns:a16="http://schemas.microsoft.com/office/drawing/2014/main" id="{95D2A995-CF0E-9C4D-A91A-1D991EBFB9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6541" y="6489700"/>
            <a:ext cx="3584615" cy="198179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ts val="825"/>
              </a:lnSpc>
              <a:buNone/>
              <a:defRPr sz="600" b="0" i="0" spc="75" baseline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342900" indent="0" algn="r">
              <a:buNone/>
              <a:defRPr b="1" i="0">
                <a:solidFill>
                  <a:schemeClr val="tx2"/>
                </a:solidFill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0" indent="0" algn="l">
              <a:buNone/>
              <a:defRPr sz="1350" b="0" i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028700" indent="0" algn="r">
              <a:buNone/>
              <a:defRPr b="1" i="0">
                <a:solidFill>
                  <a:schemeClr val="tx2"/>
                </a:solidFill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0" indent="0" algn="l">
              <a:buNone/>
              <a:defRPr sz="900" b="0" i="1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5">
            <a:extLst>
              <a:ext uri="{FF2B5EF4-FFF2-40B4-BE49-F238E27FC236}">
                <a16:creationId xmlns:a16="http://schemas.microsoft.com/office/drawing/2014/main" id="{29CBF7D8-F65A-B94B-966A-273EAFD731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0429" y="368301"/>
            <a:ext cx="7344965" cy="74937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0" indent="0" algn="l">
              <a:lnSpc>
                <a:spcPts val="1650"/>
              </a:lnSpc>
              <a:buNone/>
              <a:defRPr sz="1500"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0" indent="0" algn="l">
              <a:buNone/>
              <a:defRPr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 algn="l">
              <a:lnSpc>
                <a:spcPts val="1200"/>
              </a:lnSpc>
              <a:buNone/>
              <a:defRPr sz="1050" b="0" i="1">
                <a:solidFill>
                  <a:schemeClr val="tx1">
                    <a:lumMod val="7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buNone/>
              <a:defRPr sz="1050" b="0" i="1">
                <a:solidFill>
                  <a:schemeClr val="tx1">
                    <a:lumMod val="7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8415" y="-214926"/>
            <a:ext cx="1133954" cy="1438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437884"/>
      </p:ext>
    </p:extLst>
  </p:cSld>
  <p:clrMapOvr>
    <a:masterClrMapping/>
  </p:clrMapOvr>
  <p:transition spd="slow">
    <p:push dir="u"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F19EB1A3-0042-CA45-B582-129198E993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9151B5C-00AA-CC48-90DA-C2DE47117A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36663736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694989D7-F531-FE4F-B946-5BAD301BC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7634E98-0CB2-0A48-8FD4-40F397C3E3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443295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9" y="4717011"/>
            <a:ext cx="1831086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8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5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4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7" name="Graphique 16">
            <a:extLst>
              <a:ext uri="{FF2B5EF4-FFF2-40B4-BE49-F238E27FC236}">
                <a16:creationId xmlns:a16="http://schemas.microsoft.com/office/drawing/2014/main" id="{BB8D2062-AD3C-7D46-9953-DE503CF47A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21D69C5-DBA6-BF41-846B-6718080B6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04200467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9" y="4717011"/>
            <a:ext cx="1831086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8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5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4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2A89A3B3-ED9F-B340-BD5B-E9699F9477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3666FBF-6FAF-6F4B-8B30-7C54522AFC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85546391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85800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961888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EEF6BB38-D89A-7C40-A577-40E43FEA08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D3CBC66-E198-B141-B0B1-B0DA21282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51152779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6946" y="1397000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3" y="1397000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704409"/>
            <a:ext cx="3813048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704409"/>
            <a:ext cx="3813048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86946" y="3060985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3" y="3060985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363588A7-351F-574F-A1B3-D5C433ED74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268BEFF-37F5-AB4C-A016-F42BED05B4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9096115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4361217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4361217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4361217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4361217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88C2DAF-626B-364D-9098-A1709749D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629AE43-B5E4-9043-A3FA-0F7EBEBE16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64378823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4822882"/>
            <a:ext cx="2496312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4822882"/>
            <a:ext cx="2496312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4822882"/>
            <a:ext cx="2496312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A4036CC-97E5-B849-A2A9-7CCF91196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D165CD7-863A-0B4F-9531-94699F2D1A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65923002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6999"/>
            <a:ext cx="381419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6999"/>
            <a:ext cx="381419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4822883"/>
            <a:ext cx="3813048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4822883"/>
            <a:ext cx="3813048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7C6BE1A-D729-5042-B853-CB90AED790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9565308-AC5C-3142-83A2-E89792A03F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5659461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2739174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2739174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2739174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2739174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4212305"/>
            <a:ext cx="1831086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666239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646678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627115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F0F881DA-A7CC-BD41-A84F-BF7A9D51CF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4A0912B-C107-C44E-ACD7-611AF7E62D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259765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37F238E-2272-B64B-BE86-BB5802AF8B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Sommair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F416AABB-F4D5-EC4A-8BD3-2A7729B153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9C8710B-904F-4845-9965-3985248304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0924" y="1329208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Votre contexte et nos convictions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D874D45C-B5C6-484B-8C84-1985BBCDCC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10924" y="1967246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Notre compréhension de votre besoi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5EB03AE5-F532-EC46-BF40-2B70614D0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96517" y="1339496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2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93C4BEEA-D7CC-3346-8BCC-97EB4B3569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96517" y="1960906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12</a:t>
            </a:r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6C80F3FE-B847-ED4D-A8B0-A1799236F8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0924" y="2605284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Nos atouts pour vous accompagner</a:t>
            </a: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1BB615FC-68E1-5444-89A7-64B95A8D12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0924" y="3243322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tre approche</a:t>
            </a:r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37461C81-B2B0-2148-B4F9-C8D26805CF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0924" y="3881360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tre équip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6A2140F-399F-1943-8460-73DB4C94C4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10924" y="4519398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s références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33C7D74F-B68B-864F-B70E-246FFEFBD3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0924" y="5157440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Annexes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62BD1F17-F44D-4B40-A93E-0DAF56410E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96517" y="2605284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14</a:t>
            </a: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88FC0D92-FB17-8A42-ACD5-A4CB7EB6E4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6517" y="3243322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34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499DF0D9-4EEF-4541-A78A-754598DB6F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96517" y="3881360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41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1C46BE9-5EB8-FA4A-9D6C-F0038E1124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96517" y="4519398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48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8BFB148-9381-7147-A784-780A5F0AE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96517" y="5156671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50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0885B62-4F40-5A4F-9C7F-2C55A690D3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7931733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2739174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2739174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2739174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2739174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4212305"/>
            <a:ext cx="1831086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666239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646678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627115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9440E4D-4DA5-4D4E-8661-8390073C06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339AC01-3C2B-3A4D-9F46-7F093BFE49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2937788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39"/>
            <a:ext cx="2496312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3200839"/>
            <a:ext cx="2496312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3200839"/>
            <a:ext cx="2496312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795E97A-C56F-C049-B2AC-3775503493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6EB6E31-FB91-9041-B8C1-6FC719D3DC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282602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pic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42"/>
            <a:ext cx="3813048" cy="840230"/>
          </a:xfrm>
          <a:solidFill>
            <a:srgbClr val="3681C7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3200842"/>
            <a:ext cx="3813048" cy="840230"/>
          </a:xfrm>
          <a:solidFill>
            <a:srgbClr val="15A3E9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2F5563A4-00DA-0A4A-9191-3B7C3C63C6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0D37E20-FC27-B249-B0F0-0453E036D0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4411650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pic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42"/>
            <a:ext cx="3813048" cy="840230"/>
          </a:xfrm>
          <a:solidFill>
            <a:srgbClr val="2C68A0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3200842"/>
            <a:ext cx="3813048" cy="840230"/>
          </a:xfrm>
          <a:solidFill>
            <a:srgbClr val="1C476C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EBBA0772-2351-A74B-BDE0-3FF4260101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A74A77-8429-6948-B720-9EB3CE4A81C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852951354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8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2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409681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5590922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7772165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8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2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3409681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5590922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7772165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8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2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3409681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5590922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7772165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50" name="Graphique 49">
            <a:extLst>
              <a:ext uri="{FF2B5EF4-FFF2-40B4-BE49-F238E27FC236}">
                <a16:creationId xmlns:a16="http://schemas.microsoft.com/office/drawing/2014/main" id="{D058E5D0-D554-E74A-87ED-C98A24C4D4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612EA65-720A-4949-A1AF-2F2E8F0D69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7536431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9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9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6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6" y="1639789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3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9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6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6" y="315354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3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9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069976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6" y="4667304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6911513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7312B073-661F-FB4E-AF0D-6080D8E7A9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0864F43-5915-E549-8CCF-3116EF2F18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72611365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9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6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6" y="1639789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3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88657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9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388657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6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6" y="3886576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3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654AAC40-CD50-F84E-85F5-562C212445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988FE156-5781-9142-82F5-0A123F5397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04807614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rect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1" y="1639790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721530" y="1639792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3" y="1639790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002677" y="1639792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1" y="3886577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721530" y="3886579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3" y="3886577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6002677" y="3886579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BC51E826-0E67-C244-9010-FD4209835C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5020CB4-0DAD-0A44-8D83-1434A8B5ADF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483790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3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3554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73170" y="1988840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1543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11874" y="1988840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270246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50575" y="1988839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108949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AAA5E498-2F5F-D245-888E-6ABB881D0E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58C416B-B627-0442-8DAC-E45FFAD75D1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142405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8474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6202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39441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019098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2642337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5121995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745234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685800" y="77945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4893" y="1952836"/>
            <a:ext cx="1049445" cy="10862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6848130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EE6D15DB-1BDB-3A46-AC60-80C3313397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9708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684066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prof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2" y="1268759"/>
            <a:ext cx="1764195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93479" y="1268759"/>
            <a:ext cx="1764195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600781" y="1268759"/>
            <a:ext cx="1859858" cy="3535680"/>
          </a:xfrm>
        </p:spPr>
        <p:txBody>
          <a:bodyPr>
            <a:noAutofit/>
          </a:bodyPr>
          <a:lstStyle>
            <a:lvl1pPr marL="0" indent="0">
              <a:buNone/>
              <a:defRPr sz="1050" b="0" i="0">
                <a:solidFill>
                  <a:schemeClr val="accent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050"/>
            </a:lvl2pPr>
            <a:lvl3pPr marL="113116" indent="-113116">
              <a:defRPr sz="1050"/>
            </a:lvl3pPr>
            <a:lvl4pPr marL="301244" indent="-155980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598342" y="1268759"/>
            <a:ext cx="1859858" cy="3535680"/>
          </a:xfrm>
        </p:spPr>
        <p:txBody>
          <a:bodyPr>
            <a:noAutofit/>
          </a:bodyPr>
          <a:lstStyle>
            <a:lvl1pPr marL="0" indent="0">
              <a:buNone/>
              <a:defRPr sz="1050" b="0" i="0">
                <a:solidFill>
                  <a:schemeClr val="accent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050"/>
            </a:lvl2pPr>
            <a:lvl3pPr marL="113116" indent="-113116">
              <a:defRPr sz="1050"/>
            </a:lvl3pPr>
            <a:lvl4pPr marL="301244" indent="-155980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85802" y="4980569"/>
            <a:ext cx="377483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93479" y="4980569"/>
            <a:ext cx="376472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73421630-C055-AD46-807F-7527B40694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22C3340-8B3F-F94F-B841-3DB7533A7F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9981810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37F238E-2272-B64B-BE86-BB5802AF8B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Sommair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F416AABB-F4D5-EC4A-8BD3-2A7729B153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9C8710B-904F-4845-9965-3985248304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0924" y="1329208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Votre contexte et nos convictions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D874D45C-B5C6-484B-8C84-1985BBCDCC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10924" y="1967246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Notre compréhension de votre besoi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5EB03AE5-F532-EC46-BF40-2B70614D0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96517" y="1339496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2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93C4BEEA-D7CC-3346-8BCC-97EB4B3569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96517" y="1960906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12</a:t>
            </a:r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6C80F3FE-B847-ED4D-A8B0-A1799236F8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0924" y="2605284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Nos atouts pour vous accompagner</a:t>
            </a: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1BB615FC-68E1-5444-89A7-64B95A8D12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0924" y="3243322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tre approche</a:t>
            </a:r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37461C81-B2B0-2148-B4F9-C8D26805CF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0924" y="3881360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tre équip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6A2140F-399F-1943-8460-73DB4C94C4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10924" y="4519398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s références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33C7D74F-B68B-864F-B70E-246FFEFBD3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0924" y="5157440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Annexes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62BD1F17-F44D-4B40-A93E-0DAF56410E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96517" y="2605284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14</a:t>
            </a: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88FC0D92-FB17-8A42-ACD5-A4CB7EB6E4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6517" y="3243322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34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499DF0D9-4EEF-4541-A78A-754598DB6F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96517" y="3881360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41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1C46BE9-5EB8-FA4A-9D6C-F0038E1124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96517" y="4519398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48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8BFB148-9381-7147-A784-780A5F0AE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96517" y="5156671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50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0885B62-4F40-5A4F-9C7F-2C55A690D3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5530478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id="{D561C17F-D64D-114D-BC58-98CF72A78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9705" y="1622789"/>
            <a:ext cx="3452214" cy="2892343"/>
          </a:xfrm>
        </p:spPr>
        <p:txBody>
          <a:bodyPr>
            <a:normAutofit/>
          </a:bodyPr>
          <a:lstStyle>
            <a:lvl1pPr marL="0" indent="0" algn="l">
              <a:buNone/>
              <a:defRPr sz="923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Nunc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fr-FR" sz="831" b="0" i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Espace réservé du texte 16">
            <a:extLst>
              <a:ext uri="{FF2B5EF4-FFF2-40B4-BE49-F238E27FC236}">
                <a16:creationId xmlns:a16="http://schemas.microsoft.com/office/drawing/2014/main" id="{B7180C5D-135F-DE49-867C-FCEA74E7FF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88551" y="1622789"/>
            <a:ext cx="3469650" cy="2892343"/>
          </a:xfrm>
        </p:spPr>
        <p:txBody>
          <a:bodyPr>
            <a:normAutofit/>
          </a:bodyPr>
          <a:lstStyle>
            <a:lvl1pPr marL="0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Nunc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fr-FR" sz="831" b="0" i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Espace réservé du texte 20">
            <a:extLst>
              <a:ext uri="{FF2B5EF4-FFF2-40B4-BE49-F238E27FC236}">
                <a16:creationId xmlns:a16="http://schemas.microsoft.com/office/drawing/2014/main" id="{4ECCDA16-844E-8745-8D37-6665F155DD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9705" y="1203837"/>
            <a:ext cx="3452214" cy="316950"/>
          </a:xfrm>
        </p:spPr>
        <p:txBody>
          <a:bodyPr>
            <a:noAutofit/>
          </a:bodyPr>
          <a:lstStyle>
            <a:lvl1pPr marL="0" indent="0">
              <a:buNone/>
              <a:defRPr sz="1108" b="0" i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AMET, CONSECTETUR ADIPISCING ELIT. MORBI VITAE AUGUE FERMENTUM</a:t>
            </a:r>
          </a:p>
        </p:txBody>
      </p:sp>
      <p:sp>
        <p:nvSpPr>
          <p:cNvPr id="18" name="Espace réservé du texte 20">
            <a:extLst>
              <a:ext uri="{FF2B5EF4-FFF2-40B4-BE49-F238E27FC236}">
                <a16:creationId xmlns:a16="http://schemas.microsoft.com/office/drawing/2014/main" id="{909D0FBB-486C-5642-805D-EE519DBE0C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8550" y="1203837"/>
            <a:ext cx="3452214" cy="316950"/>
          </a:xfrm>
        </p:spPr>
        <p:txBody>
          <a:bodyPr>
            <a:noAutofit/>
          </a:bodyPr>
          <a:lstStyle>
            <a:lvl1pPr marL="0" indent="0">
              <a:buNone/>
              <a:defRPr sz="1108" b="0" i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AMET, CONSECTETUR ADIPISCING ELIT. MORBI VITAE AUGUE FERMENTUM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DDD2C8DC-3776-DD45-8F8A-39D71644FE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800" y="4689476"/>
            <a:ext cx="3446585" cy="251693"/>
          </a:xfrm>
        </p:spPr>
        <p:txBody>
          <a:bodyPr>
            <a:normAutofit/>
          </a:bodyPr>
          <a:lstStyle>
            <a:lvl1pPr marL="0" indent="0" algn="l">
              <a:buNone/>
              <a:defRPr sz="923"/>
            </a:lvl1pPr>
            <a:lvl2pPr marL="171454" indent="0" algn="l">
              <a:buNone/>
              <a:defRPr/>
            </a:lvl2pPr>
            <a:lvl3pPr marL="344496" indent="0" algn="l">
              <a:buNone/>
              <a:defRPr/>
            </a:lvl3pPr>
            <a:lvl4pPr marL="515949" indent="0" algn="l">
              <a:buNone/>
              <a:defRPr/>
            </a:lvl4pPr>
            <a:lvl5pPr marL="687405" indent="0" algn="l">
              <a:buNone/>
              <a:defRPr/>
            </a:lvl5pPr>
          </a:lstStyle>
          <a:p>
            <a:pPr lvl="0"/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dum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dale</a:t>
            </a:r>
            <a:endParaRPr kumimoji="0" lang="en-US" sz="831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Espace réservé du texte 19">
            <a:extLst>
              <a:ext uri="{FF2B5EF4-FFF2-40B4-BE49-F238E27FC236}">
                <a16:creationId xmlns:a16="http://schemas.microsoft.com/office/drawing/2014/main" id="{030BA8CF-0947-3A4E-8884-1F6CEC977A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94645" y="4689476"/>
            <a:ext cx="3446585" cy="251693"/>
          </a:xfrm>
        </p:spPr>
        <p:txBody>
          <a:bodyPr>
            <a:normAutofit/>
          </a:bodyPr>
          <a:lstStyle>
            <a:lvl1pPr marL="0" indent="0" algn="l">
              <a:buNone/>
              <a:defRPr sz="923"/>
            </a:lvl1pPr>
            <a:lvl2pPr marL="171454" indent="0" algn="l">
              <a:buNone/>
              <a:defRPr/>
            </a:lvl2pPr>
            <a:lvl3pPr marL="344496" indent="0" algn="l">
              <a:buNone/>
              <a:defRPr/>
            </a:lvl3pPr>
            <a:lvl4pPr marL="515949" indent="0" algn="l">
              <a:buNone/>
              <a:defRPr/>
            </a:lvl4pPr>
            <a:lvl5pPr marL="687405" indent="0" algn="l">
              <a:buNone/>
              <a:defRPr/>
            </a:lvl5pPr>
          </a:lstStyle>
          <a:p>
            <a:pPr lvl="0"/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dum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dale</a:t>
            </a:r>
            <a:endParaRPr kumimoji="0" lang="en-US" sz="831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8F593E58-673D-1148-A3BB-0462D7155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16943"/>
            <a:ext cx="7772400" cy="340724"/>
          </a:xfrm>
        </p:spPr>
        <p:txBody>
          <a:bodyPr anchor="t"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endParaRPr lang="fr-FR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F562348-6639-094F-975D-DC1D19C48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0EFFCB1-6ED5-BB40-B1FE-61B71ED63A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87981149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C8467E19-8FBC-2846-A58D-3265F5212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410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F482980A-F64E-EF40-B05C-78A6EDAC86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9865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D6B9960-A269-F14A-989C-A5B255FD27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05029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115A1495-E42C-DF46-990F-D0ADC21BE2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410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D30F3E7F-9CC4-EF42-90C1-4BB9B05ABE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9865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068EB0D8-3880-5E4E-A524-E07BDA667B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05029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9">
            <a:extLst>
              <a:ext uri="{FF2B5EF4-FFF2-40B4-BE49-F238E27FC236}">
                <a16:creationId xmlns:a16="http://schemas.microsoft.com/office/drawing/2014/main" id="{6DB02B1F-DA00-4F4A-95BF-91EF515530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5164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1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BDA18899-EFD1-FF48-A3B7-8FE5811E0B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86717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2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DDF5498E-6E23-6849-8D8E-4D29F138D4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01879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DAF3E67-D170-F742-A095-7878D0AE9C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5164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4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6033A3A2-B688-F34A-985C-24CD9D7D11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86717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5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61405870-F208-BC4C-8EDE-89049CBC22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01879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6</a:t>
            </a: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F8A2ADC4-8B85-224C-A734-BEE3109D5C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16943"/>
            <a:ext cx="7772400" cy="340724"/>
          </a:xfrm>
        </p:spPr>
        <p:txBody>
          <a:bodyPr anchor="ctr"/>
          <a:lstStyle>
            <a:lvl1pPr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fr-FR"/>
              <a:t>Atouts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171D64AC-1285-D043-939C-14FBB09DC9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A32DEDA-6678-8045-BC0F-1BC7CBE609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2101964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51972"/>
            <a:ext cx="7772400" cy="628756"/>
          </a:xfrm>
        </p:spPr>
        <p:txBody>
          <a:bodyPr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r>
              <a:rPr lang="fr-FR"/>
              <a:t> </a:t>
            </a:r>
            <a:r>
              <a:rPr lang="fr-FR" err="1"/>
              <a:t>hastisque</a:t>
            </a:r>
            <a:r>
              <a:rPr lang="fr-FR"/>
              <a:t> </a:t>
            </a:r>
            <a:r>
              <a:rPr lang="fr-FR" err="1"/>
              <a:t>feriens</a:t>
            </a:r>
            <a:r>
              <a:rPr lang="fr-FR"/>
              <a:t> scuta qui habitus </a:t>
            </a:r>
            <a:r>
              <a:rPr lang="fr-FR" err="1"/>
              <a:t>iram</a:t>
            </a:r>
            <a:r>
              <a:rPr lang="fr-FR"/>
              <a:t> </a:t>
            </a:r>
            <a:r>
              <a:rPr lang="fr-FR" err="1"/>
              <a:t>pugnantium</a:t>
            </a:r>
            <a:r>
              <a:rPr lang="fr-FR"/>
              <a:t> </a:t>
            </a:r>
            <a:r>
              <a:rPr lang="fr-FR" err="1"/>
              <a:t>concitat</a:t>
            </a:r>
            <a:endParaRPr lang="fr-FR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BE6FF84-B617-E844-A665-802CB0BAA502}"/>
              </a:ext>
            </a:extLst>
          </p:cNvPr>
          <p:cNvSpPr txBox="1">
            <a:spLocks/>
          </p:cNvSpPr>
          <p:nvPr/>
        </p:nvSpPr>
        <p:spPr>
          <a:xfrm>
            <a:off x="499525" y="1520788"/>
            <a:ext cx="996923" cy="108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1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6D5411-8278-F64F-AA41-84F0085ACF3C}"/>
              </a:ext>
            </a:extLst>
          </p:cNvPr>
          <p:cNvSpPr txBox="1">
            <a:spLocks/>
          </p:cNvSpPr>
          <p:nvPr/>
        </p:nvSpPr>
        <p:spPr>
          <a:xfrm>
            <a:off x="1952315" y="1520788"/>
            <a:ext cx="996923" cy="1080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2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A94810E-A474-BD49-9067-F2AB653D88A2}"/>
              </a:ext>
            </a:extLst>
          </p:cNvPr>
          <p:cNvSpPr txBox="1">
            <a:spLocks/>
          </p:cNvSpPr>
          <p:nvPr/>
        </p:nvSpPr>
        <p:spPr>
          <a:xfrm>
            <a:off x="3375559" y="1520788"/>
            <a:ext cx="996923" cy="1080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3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37D1E30-4E08-8545-A624-D93B2135F95B}"/>
              </a:ext>
            </a:extLst>
          </p:cNvPr>
          <p:cNvSpPr txBox="1">
            <a:spLocks/>
          </p:cNvSpPr>
          <p:nvPr/>
        </p:nvSpPr>
        <p:spPr>
          <a:xfrm>
            <a:off x="4798804" y="1520788"/>
            <a:ext cx="996923" cy="10800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4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181B2A05-904A-FC4A-BA0A-83CA23EE5164}"/>
              </a:ext>
            </a:extLst>
          </p:cNvPr>
          <p:cNvSpPr txBox="1">
            <a:spLocks/>
          </p:cNvSpPr>
          <p:nvPr/>
        </p:nvSpPr>
        <p:spPr>
          <a:xfrm>
            <a:off x="6222048" y="1520788"/>
            <a:ext cx="996923" cy="1080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5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DC88F8A3-273F-CB4C-AF48-54804BE7C37A}"/>
              </a:ext>
            </a:extLst>
          </p:cNvPr>
          <p:cNvSpPr txBox="1">
            <a:spLocks/>
          </p:cNvSpPr>
          <p:nvPr/>
        </p:nvSpPr>
        <p:spPr>
          <a:xfrm>
            <a:off x="7645294" y="1520788"/>
            <a:ext cx="996923" cy="108000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r>
              <a:rPr lang="fr-FR" sz="3231" b="0" i="0">
                <a:latin typeface="Segoe UI Light" panose="020B0502040204020203" pitchFamily="34" charset="0"/>
              </a:rPr>
              <a:t>6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5B872118-8F18-8B44-BDD6-4D6400B4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45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7CF5C18-1E95-C243-B7C5-426CDD91A3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676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BC76D2F1-C74C-EF4B-9B5B-7D1F8910A3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9420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5D1C027F-D3CE-1444-A4AF-8739131D3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6075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89B41A96-1EB0-A843-B5A7-A41BEAF80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65156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E74B7E68-2061-E14E-AE23-DDBD7DD33D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9423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00AEB744-AD2A-8348-9DE7-6376E2D901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24220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locs 3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>
            <a:extLst>
              <a:ext uri="{FF2B5EF4-FFF2-40B4-BE49-F238E27FC236}">
                <a16:creationId xmlns:a16="http://schemas.microsoft.com/office/drawing/2014/main" id="{6195ED57-034D-804E-8062-A1BB1B4357BD}"/>
              </a:ext>
            </a:extLst>
          </p:cNvPr>
          <p:cNvSpPr/>
          <p:nvPr/>
        </p:nvSpPr>
        <p:spPr>
          <a:xfrm>
            <a:off x="251521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D96AC5-ACB1-5343-B150-97A7A65B8C7F}"/>
              </a:ext>
            </a:extLst>
          </p:cNvPr>
          <p:cNvSpPr/>
          <p:nvPr/>
        </p:nvSpPr>
        <p:spPr>
          <a:xfrm>
            <a:off x="3008002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BC82BB8-C31D-474E-9BC2-CCA7CC3CA0EB}"/>
              </a:ext>
            </a:extLst>
          </p:cNvPr>
          <p:cNvSpPr/>
          <p:nvPr/>
        </p:nvSpPr>
        <p:spPr>
          <a:xfrm>
            <a:off x="5734969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1577CC0-21BC-EE47-9EE3-83D8837E2868}"/>
              </a:ext>
            </a:extLst>
          </p:cNvPr>
          <p:cNvSpPr/>
          <p:nvPr/>
        </p:nvSpPr>
        <p:spPr>
          <a:xfrm>
            <a:off x="251521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56DAB77-BE19-DC49-8F90-4AFD6F720FD1}"/>
              </a:ext>
            </a:extLst>
          </p:cNvPr>
          <p:cNvSpPr/>
          <p:nvPr/>
        </p:nvSpPr>
        <p:spPr>
          <a:xfrm>
            <a:off x="3008002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0A3DDDF-952A-0846-B4D6-EE383794216A}"/>
              </a:ext>
            </a:extLst>
          </p:cNvPr>
          <p:cNvSpPr/>
          <p:nvPr/>
        </p:nvSpPr>
        <p:spPr>
          <a:xfrm>
            <a:off x="5734969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662C264B-5100-A94D-91E8-1B41B17087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741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2391E2D5-831D-CD45-8FC2-83B5250658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3585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1C4A0AF5-2632-5543-863D-5C22F7895F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5829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F61C2B9A-4D71-254E-BA77-756EC7FF9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741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A4C1D545-649F-504B-9FD2-4ED1D012B6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3585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BD27275D-5F22-AE45-ABD0-CED52D06BF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5829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798A602A-55CF-284D-A4C2-5D26F6293B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378" y="1483406"/>
            <a:ext cx="2071962" cy="207287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ULTANCY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0C7BF7F5-E80F-4948-B034-F8EE8DA906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0604" y="1483406"/>
            <a:ext cx="2071962" cy="207287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&amp; ACCOUNT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16334BA2-8B93-5247-A8F3-E9CDB36152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55829" y="1483405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PHIC DESIGN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4ACC63D6-B64C-D54B-89B7-105CF12845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5829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T MANAGEMENT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CB40137D-D7D7-AD47-B603-C1DC59629D5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30011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TIVATION</a:t>
            </a:r>
          </a:p>
        </p:txBody>
      </p:sp>
      <p:sp>
        <p:nvSpPr>
          <p:cNvPr id="44" name="Espace réservé du texte 9">
            <a:extLst>
              <a:ext uri="{FF2B5EF4-FFF2-40B4-BE49-F238E27FC236}">
                <a16:creationId xmlns:a16="http://schemas.microsoft.com/office/drawing/2014/main" id="{84CBD0E7-FF34-B643-B4AA-FC15740514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6565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C731E4-001F-6D46-A0CB-AA8854A446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273383CC-CD49-FA40-AF4F-ABE957922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31282"/>
            <a:ext cx="7772400" cy="361414"/>
          </a:xfrm>
        </p:spPr>
        <p:txBody>
          <a:bodyPr anchor="ctr"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endParaRPr lang="fr-FR"/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965860D0-F6A1-8540-BC28-FC2755C49B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006122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locs 2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51972"/>
            <a:ext cx="7772400" cy="628756"/>
          </a:xfrm>
        </p:spPr>
        <p:txBody>
          <a:bodyPr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r>
              <a:rPr lang="fr-FR"/>
              <a:t> </a:t>
            </a:r>
            <a:r>
              <a:rPr lang="fr-FR" err="1"/>
              <a:t>hastisque</a:t>
            </a:r>
            <a:r>
              <a:rPr lang="fr-FR"/>
              <a:t> </a:t>
            </a:r>
            <a:r>
              <a:rPr lang="fr-FR" err="1"/>
              <a:t>feriens</a:t>
            </a:r>
            <a:r>
              <a:rPr lang="fr-FR"/>
              <a:t> scuta qui habitus </a:t>
            </a:r>
            <a:r>
              <a:rPr lang="fr-FR" err="1"/>
              <a:t>iram</a:t>
            </a:r>
            <a:r>
              <a:rPr lang="fr-FR"/>
              <a:t> </a:t>
            </a:r>
            <a:r>
              <a:rPr lang="fr-FR" err="1"/>
              <a:t>pugnantium</a:t>
            </a:r>
            <a:r>
              <a:rPr lang="fr-FR"/>
              <a:t> </a:t>
            </a:r>
            <a:r>
              <a:rPr lang="fr-FR" err="1"/>
              <a:t>concitat</a:t>
            </a:r>
            <a:endParaRPr lang="fr-FR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6195ED57-034D-804E-8062-A1BB1B4357BD}"/>
              </a:ext>
            </a:extLst>
          </p:cNvPr>
          <p:cNvSpPr/>
          <p:nvPr/>
        </p:nvSpPr>
        <p:spPr>
          <a:xfrm>
            <a:off x="251521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D96AC5-ACB1-5343-B150-97A7A65B8C7F}"/>
              </a:ext>
            </a:extLst>
          </p:cNvPr>
          <p:cNvSpPr/>
          <p:nvPr/>
        </p:nvSpPr>
        <p:spPr>
          <a:xfrm>
            <a:off x="251521" y="2971267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BC82BB8-C31D-474E-9BC2-CCA7CC3CA0EB}"/>
              </a:ext>
            </a:extLst>
          </p:cNvPr>
          <p:cNvSpPr/>
          <p:nvPr/>
        </p:nvSpPr>
        <p:spPr>
          <a:xfrm>
            <a:off x="251521" y="4612164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1577CC0-21BC-EE47-9EE3-83D8837E2868}"/>
              </a:ext>
            </a:extLst>
          </p:cNvPr>
          <p:cNvSpPr/>
          <p:nvPr/>
        </p:nvSpPr>
        <p:spPr>
          <a:xfrm>
            <a:off x="4442058" y="1440463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56DAB77-BE19-DC49-8F90-4AFD6F720FD1}"/>
              </a:ext>
            </a:extLst>
          </p:cNvPr>
          <p:cNvSpPr/>
          <p:nvPr/>
        </p:nvSpPr>
        <p:spPr>
          <a:xfrm>
            <a:off x="4460913" y="296154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0A3DDDF-952A-0846-B4D6-EE383794216A}"/>
              </a:ext>
            </a:extLst>
          </p:cNvPr>
          <p:cNvSpPr/>
          <p:nvPr/>
        </p:nvSpPr>
        <p:spPr>
          <a:xfrm>
            <a:off x="4471572" y="4582179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F96508CC-9CAC-D94E-9B76-8D5CE523DF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078" y="1772816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D26640EC-8478-AB44-8B36-EB897B24BD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2078" y="337528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526FAAA4-17CE-A74B-9425-722C76FBA9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2078" y="499546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07ECE29-D931-8C4F-B1AF-FCD697D883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02855" y="1772816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271788DF-4067-5A40-B8A1-212DED716F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2855" y="337528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9C62AD59-2B64-C442-90E1-4F567E08AF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2855" y="499546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92C4AE38-9F8E-F840-8BE0-745A1A3832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2078" y="1460692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ULTANCY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108E3404-2EC7-A742-B40F-411A1F7678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2078" y="3067704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&amp; ACCOUNT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3CF296E7-525E-A740-9DC8-D82CED1C5F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078" y="4690625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PHIC DESIGN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22EC26C0-3AAE-0E48-8708-E84A82F0849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02855" y="4690625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T MANAGEMENT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1A77401D-64E8-A543-A7AB-E78A144C5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02855" y="3067704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TIVATION</a:t>
            </a:r>
          </a:p>
        </p:txBody>
      </p:sp>
      <p:sp>
        <p:nvSpPr>
          <p:cNvPr id="44" name="Espace réservé du texte 9">
            <a:extLst>
              <a:ext uri="{FF2B5EF4-FFF2-40B4-BE49-F238E27FC236}">
                <a16:creationId xmlns:a16="http://schemas.microsoft.com/office/drawing/2014/main" id="{0A108E76-117B-A146-94BD-48A85E6D5B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02855" y="1460692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D7AD1DB6-CF0C-924E-8965-AB3215A4C2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31153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tre équ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799" y="362835"/>
            <a:ext cx="7772400" cy="314746"/>
          </a:xfrm>
        </p:spPr>
        <p:txBody>
          <a:bodyPr/>
          <a:lstStyle>
            <a:lvl1pPr>
              <a:defRPr b="0"/>
            </a:lvl1pPr>
          </a:lstStyle>
          <a:p>
            <a:r>
              <a:rPr lang="fr-FR"/>
              <a:t>Notre équipe d’intervenant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864FFDA6-8BB0-EB43-8EB5-B85B84EE95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2085" y="1716975"/>
            <a:ext cx="7276114" cy="69427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Cliquez pour modifier les styles du texte du masque</a:t>
            </a:r>
          </a:p>
          <a:p>
            <a:pPr lvl="1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Deuxième niveau</a:t>
            </a:r>
          </a:p>
          <a:p>
            <a:pPr lvl="2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Troisième niveau</a:t>
            </a:r>
          </a:p>
          <a:p>
            <a:pPr lvl="3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Quatrième niveau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21BCBE88-0FE3-344D-9CDA-610088F8504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4624" y="1241416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46326B1A-395B-9048-8ED9-7B709837D1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8554" y="3565241"/>
            <a:ext cx="7276114" cy="70972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Cliquez pour modifier les styles du texte du masque</a:t>
            </a:r>
          </a:p>
        </p:txBody>
      </p:sp>
      <p:sp>
        <p:nvSpPr>
          <p:cNvPr id="26" name="Espace réservé pour une image  5">
            <a:extLst>
              <a:ext uri="{FF2B5EF4-FFF2-40B4-BE49-F238E27FC236}">
                <a16:creationId xmlns:a16="http://schemas.microsoft.com/office/drawing/2014/main" id="{806FEEDE-992D-CE4D-918F-92CFB6F32B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4623" y="3104965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7" name="Espace réservé du texte 9">
            <a:extLst>
              <a:ext uri="{FF2B5EF4-FFF2-40B4-BE49-F238E27FC236}">
                <a16:creationId xmlns:a16="http://schemas.microsoft.com/office/drawing/2014/main" id="{D221A175-261D-E342-AA16-6A23C47FF2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623" y="2788056"/>
            <a:ext cx="8170046" cy="218006"/>
          </a:xfrm>
        </p:spPr>
        <p:txBody>
          <a:bodyPr>
            <a:normAutofit/>
          </a:bodyPr>
          <a:lstStyle>
            <a:lvl1pPr marL="0" indent="0" algn="ctr">
              <a:buNone/>
              <a:defRPr sz="1477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ÉQUIPE COEUR</a:t>
            </a:r>
          </a:p>
        </p:txBody>
      </p:sp>
      <p:sp>
        <p:nvSpPr>
          <p:cNvPr id="28" name="Espace réservé pour une image  5">
            <a:extLst>
              <a:ext uri="{FF2B5EF4-FFF2-40B4-BE49-F238E27FC236}">
                <a16:creationId xmlns:a16="http://schemas.microsoft.com/office/drawing/2014/main" id="{396EFCED-CC81-CC4C-81FA-7084ADC8EB0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51786" y="4921667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Espace réservé pour une image  5">
            <a:extLst>
              <a:ext uri="{FF2B5EF4-FFF2-40B4-BE49-F238E27FC236}">
                <a16:creationId xmlns:a16="http://schemas.microsoft.com/office/drawing/2014/main" id="{C738B4D2-D6C2-6F42-8AFC-4218B96C542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4127" y="4931905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0" name="Espace réservé pour une image  5">
            <a:extLst>
              <a:ext uri="{FF2B5EF4-FFF2-40B4-BE49-F238E27FC236}">
                <a16:creationId xmlns:a16="http://schemas.microsoft.com/office/drawing/2014/main" id="{CE6C50C2-FFB5-6A4E-98B3-A01811853E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55388" y="4848979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6" name="Espace réservé du texte 19">
            <a:extLst>
              <a:ext uri="{FF2B5EF4-FFF2-40B4-BE49-F238E27FC236}">
                <a16:creationId xmlns:a16="http://schemas.microsoft.com/office/drawing/2014/main" id="{5B188B30-C8D5-5643-AE09-6199F8EA8E7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82085" y="1241416"/>
            <a:ext cx="1280579" cy="252411"/>
          </a:xfrm>
        </p:spPr>
        <p:txBody>
          <a:bodyPr>
            <a:no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ASSOCIE: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Espace réservé du texte 19">
            <a:extLst>
              <a:ext uri="{FF2B5EF4-FFF2-40B4-BE49-F238E27FC236}">
                <a16:creationId xmlns:a16="http://schemas.microsoft.com/office/drawing/2014/main" id="{82F96A94-7781-134F-8987-FA7F0B1B68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21402" y="4921667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Arts et Métier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Espace réservé du texte 19">
            <a:extLst>
              <a:ext uri="{FF2B5EF4-FFF2-40B4-BE49-F238E27FC236}">
                <a16:creationId xmlns:a16="http://schemas.microsoft.com/office/drawing/2014/main" id="{757B0E79-48BC-8146-B981-627450C993C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52914" y="3114977"/>
            <a:ext cx="1691791" cy="252411"/>
          </a:xfrm>
        </p:spPr>
        <p:txBody>
          <a:bodyPr>
            <a:no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MANAGER: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Espace réservé du texte 19">
            <a:extLst>
              <a:ext uri="{FF2B5EF4-FFF2-40B4-BE49-F238E27FC236}">
                <a16:creationId xmlns:a16="http://schemas.microsoft.com/office/drawing/2014/main" id="{1780E8FB-3D20-C14F-A4FA-A1F1F98AAB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22109" y="4941209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fr-FR" sz="831" b="0" i="0" err="1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pméca</a:t>
            </a: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ri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Espace réservé du texte 19">
            <a:extLst>
              <a:ext uri="{FF2B5EF4-FFF2-40B4-BE49-F238E27FC236}">
                <a16:creationId xmlns:a16="http://schemas.microsoft.com/office/drawing/2014/main" id="{95E15856-F01B-FF4E-9482-01CF4FF1B7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19405" y="4848979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Centrale Nante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5B918CC6-40D2-EE43-9B53-8CB0D9202C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8C8CDC1-6BB8-5B44-8875-B6C78569459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101087877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redent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033" y="333083"/>
            <a:ext cx="7772400" cy="347382"/>
          </a:xfrm>
          <a:ln>
            <a:noFill/>
          </a:ln>
        </p:spPr>
        <p:txBody>
          <a:bodyPr anchor="ctr"/>
          <a:lstStyle>
            <a:lvl1pPr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fr-FR"/>
              <a:t>Our </a:t>
            </a:r>
            <a:r>
              <a:rPr lang="fr-FR" err="1"/>
              <a:t>credentials</a:t>
            </a:r>
            <a:r>
              <a:rPr lang="fr-FR"/>
              <a:t> in </a:t>
            </a:r>
            <a:r>
              <a:rPr lang="fr-FR" err="1"/>
              <a:t>managing</a:t>
            </a:r>
            <a:r>
              <a:rPr lang="fr-FR"/>
              <a:t> major </a:t>
            </a:r>
            <a:r>
              <a:rPr lang="fr-FR" err="1"/>
              <a:t>organizational</a:t>
            </a:r>
            <a:r>
              <a:rPr lang="fr-FR"/>
              <a:t> shift</a:t>
            </a:r>
          </a:p>
        </p:txBody>
      </p:sp>
      <p:sp>
        <p:nvSpPr>
          <p:cNvPr id="24" name="Espace réservé du texte 13">
            <a:extLst>
              <a:ext uri="{FF2B5EF4-FFF2-40B4-BE49-F238E27FC236}">
                <a16:creationId xmlns:a16="http://schemas.microsoft.com/office/drawing/2014/main" id="{96A8C027-DBDF-AF45-8EDC-F9AA2E2D89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6291" y="1617024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DDC088B1-B2AB-0442-8996-7072124DC3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8191" y="2027128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6" name="Espace réservé du texte 13">
            <a:extLst>
              <a:ext uri="{FF2B5EF4-FFF2-40B4-BE49-F238E27FC236}">
                <a16:creationId xmlns:a16="http://schemas.microsoft.com/office/drawing/2014/main" id="{02A038B4-1B64-9E47-A762-1628BA45ED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5787" y="2834499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7" name="Espace réservé du texte 13">
            <a:extLst>
              <a:ext uri="{FF2B5EF4-FFF2-40B4-BE49-F238E27FC236}">
                <a16:creationId xmlns:a16="http://schemas.microsoft.com/office/drawing/2014/main" id="{A0EFC97A-E2BC-A141-8527-E7F57F6760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3982" y="3226917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1" name="Espace réservé du texte 13">
            <a:extLst>
              <a:ext uri="{FF2B5EF4-FFF2-40B4-BE49-F238E27FC236}">
                <a16:creationId xmlns:a16="http://schemas.microsoft.com/office/drawing/2014/main" id="{A3EB6E0A-F8EC-8646-A94D-EC8521832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080" y="389705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3" name="Espace réservé du texte 13">
            <a:extLst>
              <a:ext uri="{FF2B5EF4-FFF2-40B4-BE49-F238E27FC236}">
                <a16:creationId xmlns:a16="http://schemas.microsoft.com/office/drawing/2014/main" id="{D06C11B3-60F2-3346-98A0-2890EEB0B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080" y="473751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5" name="Espace réservé du texte 13">
            <a:extLst>
              <a:ext uri="{FF2B5EF4-FFF2-40B4-BE49-F238E27FC236}">
                <a16:creationId xmlns:a16="http://schemas.microsoft.com/office/drawing/2014/main" id="{7A0E3223-17D2-3E46-BA7B-EE9BA1293F6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9167" y="553411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7" name="Espace réservé du texte 9">
            <a:extLst>
              <a:ext uri="{FF2B5EF4-FFF2-40B4-BE49-F238E27FC236}">
                <a16:creationId xmlns:a16="http://schemas.microsoft.com/office/drawing/2014/main" id="{214413A7-A008-294C-A925-6007D53C3D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787" y="1199098"/>
            <a:ext cx="2000333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>
              <a:lnSpc>
                <a:spcPct val="120000"/>
              </a:lnSpc>
            </a:pPr>
            <a:r>
              <a:rPr lang="fr-FR" sz="1108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PANY</a:t>
            </a:r>
          </a:p>
        </p:txBody>
      </p:sp>
      <p:sp>
        <p:nvSpPr>
          <p:cNvPr id="38" name="Espace réservé du texte 9">
            <a:extLst>
              <a:ext uri="{FF2B5EF4-FFF2-40B4-BE49-F238E27FC236}">
                <a16:creationId xmlns:a16="http://schemas.microsoft.com/office/drawing/2014/main" id="{88C8CA68-F69E-E14D-A0D9-378FCD9E72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2957" y="1218234"/>
            <a:ext cx="2000333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>
              <a:lnSpc>
                <a:spcPct val="120000"/>
              </a:lnSpc>
            </a:pPr>
            <a:r>
              <a:rPr lang="fr-FR" sz="1108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SIGNMENT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D2CD39D7-5ECB-F645-8460-FDC18F7033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21394" y="1617024"/>
            <a:ext cx="5944839" cy="3238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  <a:p>
            <a:pPr lvl="1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uxième niveau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E6EAAB33-846F-764C-839C-924D28A1509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21394" y="2027129"/>
            <a:ext cx="5944839" cy="72067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ACF3FFD9-C7DF-0E4F-83A4-94722E9B3C5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1394" y="2834499"/>
            <a:ext cx="5944839" cy="2836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175AEE5F-9FCB-9642-B78A-B441A1FCA4E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21394" y="3226917"/>
            <a:ext cx="5944839" cy="59440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91724ADA-78A3-D34C-A990-80C57A22F1A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1394" y="3897053"/>
            <a:ext cx="5944839" cy="6994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4FEE905C-078F-4143-B1FA-F4C0F84FF77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11463" y="4737513"/>
            <a:ext cx="5944839" cy="6994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8E7BA8A4-497A-B346-957D-AF0EB2C9A2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10369" y="5534112"/>
            <a:ext cx="5944839" cy="5951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2FC9DD98-0381-934A-A9E7-12E171788C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9AB3AC1-B3F7-CA48-9399-6ACAEBF85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65286347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6F606EC-E71D-4DE7-8189-E0E12E53C37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3774373" y="-11430"/>
            <a:ext cx="5369627" cy="6869430"/>
          </a:xfrm>
          <a:custGeom>
            <a:avLst/>
            <a:gdLst>
              <a:gd name="connsiteX0" fmla="*/ 4560570 w 7155180"/>
              <a:gd name="connsiteY0" fmla="*/ 0 h 6880860"/>
              <a:gd name="connsiteX1" fmla="*/ 7155180 w 7155180"/>
              <a:gd name="connsiteY1" fmla="*/ 6880860 h 6880860"/>
              <a:gd name="connsiteX2" fmla="*/ 0 w 7155180"/>
              <a:gd name="connsiteY2" fmla="*/ 6869430 h 6880860"/>
              <a:gd name="connsiteX3" fmla="*/ 0 w 7155180"/>
              <a:gd name="connsiteY3" fmla="*/ 11430 h 6880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5180" h="6880860">
                <a:moveTo>
                  <a:pt x="4560570" y="0"/>
                </a:moveTo>
                <a:lnTo>
                  <a:pt x="7155180" y="6880860"/>
                </a:lnTo>
                <a:lnTo>
                  <a:pt x="0" y="6869430"/>
                </a:lnTo>
                <a:lnTo>
                  <a:pt x="0" y="114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9297184-CA0B-CF43-B975-F6A3FE634E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4584124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351E436-F6B3-DF4B-B106-DB94F8F80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4617358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7E134F-66E9-654A-B1FF-C2C536030585}"/>
              </a:ext>
            </a:extLst>
          </p:cNvPr>
          <p:cNvSpPr/>
          <p:nvPr/>
        </p:nvSpPr>
        <p:spPr>
          <a:xfrm>
            <a:off x="151817" y="6201308"/>
            <a:ext cx="598220" cy="5760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62" b="0" i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2178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019146"/>
            <a:ext cx="3811588" cy="50783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1560285"/>
            <a:ext cx="3811588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19146"/>
            <a:ext cx="3813174" cy="50783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560285"/>
            <a:ext cx="3813174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D6DDDB84-1992-F648-B664-E15D6D7A61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F39B69A-DF0C-C74B-AECB-8C84FDD6DF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46037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676059657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s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ADED4126-C3FB-4228-97BE-05DDB013385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619632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8C575F5B-47F4-43B4-8AEB-2C42B3AFFE5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39189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1C85F41-E610-4A01-A3BB-97AFA751CA2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658744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CA4950EE-8961-4BD5-BD35-95E34189F01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0075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7AB1CF83-5012-4FCA-8355-CACD6BDB102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619632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A705D39-1F6E-461A-9C0B-1B74EA88E5C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39189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D40A2BFA-FA23-4DB9-A4D1-00FD102CE6E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658744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48D6C942-265D-41F7-8402-B78250CD59C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0075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26DADD1-11D8-7344-AB73-C218377EF0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66C6162E-9289-4848-8AAF-A36BA4C7FA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3C75CC7-9AD0-6D4E-9018-B723395BC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408886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EABAA97-BBF4-4E00-BAFD-36622F484FD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3964" y="1488249"/>
            <a:ext cx="3665269" cy="2145730"/>
          </a:xfrm>
          <a:custGeom>
            <a:avLst/>
            <a:gdLst>
              <a:gd name="connsiteX0" fmla="*/ 0 w 4887025"/>
              <a:gd name="connsiteY0" fmla="*/ 0 h 2145730"/>
              <a:gd name="connsiteX1" fmla="*/ 4887025 w 4887025"/>
              <a:gd name="connsiteY1" fmla="*/ 0 h 2145730"/>
              <a:gd name="connsiteX2" fmla="*/ 4887025 w 4887025"/>
              <a:gd name="connsiteY2" fmla="*/ 2145730 h 2145730"/>
              <a:gd name="connsiteX3" fmla="*/ 0 w 4887025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025" h="2145730">
                <a:moveTo>
                  <a:pt x="0" y="0"/>
                </a:moveTo>
                <a:lnTo>
                  <a:pt x="4887025" y="0"/>
                </a:lnTo>
                <a:lnTo>
                  <a:pt x="4887025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277ECAD-C044-40C9-8E2C-E49BC76AC60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64770" y="1488248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53108A3-63E7-45B1-840D-C1244CC8C53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0172" y="1488247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4F9421AD-0756-485F-ACB9-6DC303DB292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3963" y="3861050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8E13A1C8-E6F6-4031-9585-0087F0F631C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739365" y="3861049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20D6C4B0-49C9-4599-B994-8B2758DC727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64766" y="3861048"/>
            <a:ext cx="3665271" cy="2145730"/>
          </a:xfrm>
          <a:custGeom>
            <a:avLst/>
            <a:gdLst>
              <a:gd name="connsiteX0" fmla="*/ 0 w 4887028"/>
              <a:gd name="connsiteY0" fmla="*/ 0 h 2145730"/>
              <a:gd name="connsiteX1" fmla="*/ 4887028 w 4887028"/>
              <a:gd name="connsiteY1" fmla="*/ 0 h 2145730"/>
              <a:gd name="connsiteX2" fmla="*/ 4887028 w 4887028"/>
              <a:gd name="connsiteY2" fmla="*/ 2145730 h 2145730"/>
              <a:gd name="connsiteX3" fmla="*/ 0 w 4887028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028" h="2145730">
                <a:moveTo>
                  <a:pt x="0" y="0"/>
                </a:moveTo>
                <a:lnTo>
                  <a:pt x="4887028" y="0"/>
                </a:lnTo>
                <a:lnTo>
                  <a:pt x="4887028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B42F81C-5859-F145-9D59-2CB333F7E9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C5DBA548-1EE0-3B4D-926E-24DEAFCCE5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3D39B4B-A3A9-2249-BAA2-0090D48A7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353045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pic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4F69C54-690D-7749-AB37-BE76AA1C3AD9}"/>
              </a:ext>
            </a:extLst>
          </p:cNvPr>
          <p:cNvSpPr/>
          <p:nvPr/>
        </p:nvSpPr>
        <p:spPr>
          <a:xfrm>
            <a:off x="3242622" y="6309320"/>
            <a:ext cx="2625522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62" b="0" i="0">
                <a:latin typeface="Segoe UI Light" panose="020B0502040204020203" pitchFamily="34" charset="0"/>
              </a:rPr>
              <a:t>v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79E6F81-F76C-4418-A71F-948B5A1731D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181290" y="-2"/>
            <a:ext cx="1965770" cy="6858002"/>
          </a:xfrm>
          <a:custGeom>
            <a:avLst/>
            <a:gdLst>
              <a:gd name="connsiteX0" fmla="*/ 0 w 2621027"/>
              <a:gd name="connsiteY0" fmla="*/ 0 h 6858002"/>
              <a:gd name="connsiteX1" fmla="*/ 2621027 w 2621027"/>
              <a:gd name="connsiteY1" fmla="*/ 0 h 6858002"/>
              <a:gd name="connsiteX2" fmla="*/ 2621027 w 2621027"/>
              <a:gd name="connsiteY2" fmla="*/ 6858002 h 6858002"/>
              <a:gd name="connsiteX3" fmla="*/ 0 w 2621027"/>
              <a:gd name="connsiteY3" fmla="*/ 6858002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1027" h="6858002">
                <a:moveTo>
                  <a:pt x="0" y="0"/>
                </a:moveTo>
                <a:lnTo>
                  <a:pt x="2621027" y="0"/>
                </a:lnTo>
                <a:lnTo>
                  <a:pt x="2621027" y="6858002"/>
                </a:lnTo>
                <a:lnTo>
                  <a:pt x="0" y="685800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DC8EFB7-B364-47A2-AEDC-00960DD8AF2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9408" y="0"/>
            <a:ext cx="2017697" cy="3384330"/>
          </a:xfrm>
          <a:custGeom>
            <a:avLst/>
            <a:gdLst>
              <a:gd name="connsiteX0" fmla="*/ 0 w 2690262"/>
              <a:gd name="connsiteY0" fmla="*/ 0 h 3384330"/>
              <a:gd name="connsiteX1" fmla="*/ 2690262 w 2690262"/>
              <a:gd name="connsiteY1" fmla="*/ 0 h 3384330"/>
              <a:gd name="connsiteX2" fmla="*/ 2690262 w 2690262"/>
              <a:gd name="connsiteY2" fmla="*/ 3384330 h 3384330"/>
              <a:gd name="connsiteX3" fmla="*/ 0 w 2690262"/>
              <a:gd name="connsiteY3" fmla="*/ 3384330 h 338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0262" h="3384330">
                <a:moveTo>
                  <a:pt x="0" y="0"/>
                </a:moveTo>
                <a:lnTo>
                  <a:pt x="2690262" y="0"/>
                </a:lnTo>
                <a:lnTo>
                  <a:pt x="2690262" y="3384330"/>
                </a:lnTo>
                <a:lnTo>
                  <a:pt x="0" y="3384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7513B07-4A69-47F3-BF43-6384706963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089408" y="3473670"/>
            <a:ext cx="2017697" cy="3384330"/>
          </a:xfrm>
          <a:custGeom>
            <a:avLst/>
            <a:gdLst>
              <a:gd name="connsiteX0" fmla="*/ 0 w 2690262"/>
              <a:gd name="connsiteY0" fmla="*/ 0 h 3384330"/>
              <a:gd name="connsiteX1" fmla="*/ 2690262 w 2690262"/>
              <a:gd name="connsiteY1" fmla="*/ 0 h 3384330"/>
              <a:gd name="connsiteX2" fmla="*/ 2690262 w 2690262"/>
              <a:gd name="connsiteY2" fmla="*/ 3384330 h 3384330"/>
              <a:gd name="connsiteX3" fmla="*/ 0 w 2690262"/>
              <a:gd name="connsiteY3" fmla="*/ 3384330 h 338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0262" h="3384330">
                <a:moveTo>
                  <a:pt x="0" y="0"/>
                </a:moveTo>
                <a:lnTo>
                  <a:pt x="2690262" y="0"/>
                </a:lnTo>
                <a:lnTo>
                  <a:pt x="2690262" y="3384330"/>
                </a:lnTo>
                <a:lnTo>
                  <a:pt x="0" y="3384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F52C1A-C3CD-CA46-97CD-B7F0893FC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38862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0E22066D-59D7-954A-9A1E-036E327370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FA4B261-A6C0-CC46-8542-291E88297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0327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pics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DAA3CD-5647-F14F-A7B8-B88059DA9B43}"/>
              </a:ext>
            </a:extLst>
          </p:cNvPr>
          <p:cNvSpPr/>
          <p:nvPr/>
        </p:nvSpPr>
        <p:spPr>
          <a:xfrm>
            <a:off x="3242622" y="6309320"/>
            <a:ext cx="2625522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62" b="0" i="0">
                <a:latin typeface="Segoe UI Light" panose="020B0502040204020203" pitchFamily="34" charset="0"/>
              </a:rPr>
              <a:t>v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434CB8D0-D59C-4D68-81E3-A6D1431A71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95260" y="164388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C87BC13F-0E4D-4CE6-90A9-DFA22DE9CD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95260" y="2219221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D0B65217-5749-46F0-8CAB-6D71279DE44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95261" y="4274050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E13CF094-A329-4D2A-9DFD-3D9EB3B314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47533" y="164386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B56F9E2F-4FDB-4DBD-B223-674B1324199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47533" y="2746705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4FEEE239-474C-45B0-8624-C52E411800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47533" y="4799905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0A0FDDBC-9764-435B-9487-94326EB8A0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98845" y="164388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90EE34F-0B03-47CF-BC9F-4BC9A0D445A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98845" y="2219220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57BBAAE-8ACB-446E-8349-A7EA1DD074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98845" y="4274050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EF87CBF-E2CB-9A42-8134-29D298E24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2556822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3AC5BD6-EE41-334A-8DC5-5AD0B4ACD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C384C370-E765-884A-B453-D3AFF5C4E2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478352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bat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DC2A07F-A71C-4649-A0BD-EB51EB58FA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587" y="1268413"/>
            <a:ext cx="2624503" cy="39243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F72A3E-7267-C741-9065-F5931E1FD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BE5E838-2D41-074D-80EE-4F993E6E49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728700"/>
            <a:ext cx="2556822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9CA01C99-3F22-2549-AE67-B742C6CA35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60648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424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6080321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1477" b="0" i="0" baseline="0">
              <a:latin typeface="Segoe UI" panose="020B0502040204020203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id="{B91C5F77-F5BB-4753-B200-70E9F2477A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11769" y="6407719"/>
            <a:ext cx="976267" cy="301756"/>
          </a:xfrm>
          <a:prstGeom prst="rect">
            <a:avLst/>
          </a:prstGeom>
        </p:spPr>
        <p:txBody>
          <a:bodyPr anchor="ctr"/>
          <a:lstStyle>
            <a:lvl1pPr algn="ctr">
              <a:defRPr sz="10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C90B2B3-5D04-4D90-8340-AE1A8DEC9546}" type="datetime1">
              <a:rPr lang="fr-FR" smtClean="0"/>
              <a:t>09/11/2022</a:t>
            </a:fld>
            <a:endParaRPr lang="fr-FR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1FAE3667-EB04-45DD-B79A-6B681E86A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4247" y="6407719"/>
            <a:ext cx="5055507" cy="301756"/>
          </a:xfrm>
          <a:prstGeom prst="rect">
            <a:avLst/>
          </a:prstGeom>
        </p:spPr>
        <p:txBody>
          <a:bodyPr anchor="ctr"/>
          <a:lstStyle>
            <a:lvl1pPr algn="ctr">
              <a:defRPr sz="10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/>
              <a:t>© 2019 – Exécution du marché conseil en stratégie N°615186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EC5745F2-CAB9-4626-9D96-F502EE4C6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05836" y="6407719"/>
            <a:ext cx="520176" cy="301756"/>
          </a:xfrm>
          <a:prstGeom prst="rect">
            <a:avLst/>
          </a:prstGeom>
        </p:spPr>
        <p:txBody>
          <a:bodyPr rIns="0" anchor="ctr"/>
          <a:lstStyle>
            <a:lvl1pPr algn="r">
              <a:defRPr sz="1015" b="0">
                <a:solidFill>
                  <a:schemeClr val="tx2"/>
                </a:solidFill>
              </a:defRPr>
            </a:lvl1pPr>
          </a:lstStyle>
          <a:p>
            <a:fld id="{5B4B94EB-EA19-4609-98BF-9B9B2F67486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6E3F56A-B978-4FC8-BBBC-E2513A549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989" y="260350"/>
            <a:ext cx="8508023" cy="406400"/>
          </a:xfrm>
        </p:spPr>
        <p:txBody>
          <a:bodyPr anchor="b">
            <a:normAutofit/>
          </a:bodyPr>
          <a:lstStyle>
            <a:lvl1pPr>
              <a:defRPr sz="1477" b="1"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2410BE33-DA7F-41D2-BB8A-AF34FCAD45D0}"/>
              </a:ext>
            </a:extLst>
          </p:cNvPr>
          <p:cNvCxnSpPr/>
          <p:nvPr userDrawn="1"/>
        </p:nvCxnSpPr>
        <p:spPr>
          <a:xfrm>
            <a:off x="317989" y="693420"/>
            <a:ext cx="30099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DD66314-9254-4080-8ACA-D2FCC8B073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7989" y="981075"/>
            <a:ext cx="8508023" cy="5219700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8168804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5927FC9-AFBA-4533-BCE9-BF2203BFF6ED}"/>
              </a:ext>
            </a:extLst>
          </p:cNvPr>
          <p:cNvCxnSpPr>
            <a:cxnSpLocks/>
          </p:cNvCxnSpPr>
          <p:nvPr userDrawn="1"/>
        </p:nvCxnSpPr>
        <p:spPr>
          <a:xfrm>
            <a:off x="327259" y="683400"/>
            <a:ext cx="0" cy="317630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528013" cy="385003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ECA01A5-9C59-4784-BBEC-6A9AE46AA63E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641320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C0D204FE-FE6B-4844-AAAA-44AD6ABCD3D1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264113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4CFA60C5-EEF6-48FC-BB4B-3D6FF725B63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2716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6B92C14B-F92C-4DC7-B9B0-1F148CA7590E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329924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8648085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0092F912-B3BA-45C5-BF3C-316DEE7081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43"/>
            <a:ext cx="9144000" cy="6858000"/>
          </a:xfrm>
          <a:prstGeom prst="rect">
            <a:avLst/>
          </a:prstGeom>
        </p:spPr>
      </p:pic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F6BD64E6-7D0A-4CB2-A9C7-EC804AEDB7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4596" y="2059806"/>
            <a:ext cx="5091113" cy="1568200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2954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u document</a:t>
            </a:r>
          </a:p>
          <a:p>
            <a:pPr lvl="0"/>
            <a:r>
              <a:rPr lang="fr-FR"/>
              <a:t>Sur une ou plusieurs</a:t>
            </a:r>
          </a:p>
          <a:p>
            <a:pPr lvl="0"/>
            <a:r>
              <a:rPr lang="fr-FR"/>
              <a:t>ligne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22ABB55-29A3-480E-8119-2AE2E5461AAC}"/>
              </a:ext>
            </a:extLst>
          </p:cNvPr>
          <p:cNvSpPr txBox="1"/>
          <p:nvPr userDrawn="1"/>
        </p:nvSpPr>
        <p:spPr>
          <a:xfrm>
            <a:off x="3224596" y="3570257"/>
            <a:ext cx="2545556" cy="4331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215" b="1"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2" name="Espace réservé du texte 9">
            <a:extLst>
              <a:ext uri="{FF2B5EF4-FFF2-40B4-BE49-F238E27FC236}">
                <a16:creationId xmlns:a16="http://schemas.microsoft.com/office/drawing/2014/main" id="{5C9E19A4-BD56-40B1-9317-DB94B234F8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4596" y="3974173"/>
            <a:ext cx="5091113" cy="857711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769" b="0">
                <a:solidFill>
                  <a:srgbClr val="64B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-Titre ou date</a:t>
            </a:r>
          </a:p>
        </p:txBody>
      </p:sp>
    </p:spTree>
    <p:extLst>
      <p:ext uri="{BB962C8B-B14F-4D97-AF65-F5344CB8AC3E}">
        <p14:creationId xmlns:p14="http://schemas.microsoft.com/office/powerpoint/2010/main" val="2317983177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1857289838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2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0335864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re ete texte cop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e du titre"/>
          <p:cNvSpPr txBox="1">
            <a:spLocks noGrp="1"/>
          </p:cNvSpPr>
          <p:nvPr>
            <p:ph type="title"/>
          </p:nvPr>
        </p:nvSpPr>
        <p:spPr>
          <a:xfrm>
            <a:off x="236539" y="264586"/>
            <a:ext cx="3395217" cy="579207"/>
          </a:xfrm>
          <a:prstGeom prst="rect">
            <a:avLst/>
          </a:prstGeom>
        </p:spPr>
        <p:txBody>
          <a:bodyPr anchor="t"/>
          <a:lstStyle>
            <a:lvl1pPr>
              <a:defRPr sz="975">
                <a:solidFill>
                  <a:srgbClr val="272F39"/>
                </a:solidFill>
              </a:defRPr>
            </a:lvl1pPr>
          </a:lstStyle>
          <a:p>
            <a:r>
              <a:t>Texte du titre</a:t>
            </a:r>
          </a:p>
        </p:txBody>
      </p:sp>
      <p:sp>
        <p:nvSpPr>
          <p:cNvPr id="31" name="Texte niveau 1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833563" y="843790"/>
            <a:ext cx="7738939" cy="570072"/>
          </a:xfrm>
          <a:prstGeom prst="rect">
            <a:avLst/>
          </a:prstGeom>
        </p:spPr>
        <p:txBody>
          <a:bodyPr/>
          <a:lstStyle>
            <a:lvl1pPr>
              <a:defRPr sz="2251">
                <a:solidFill>
                  <a:srgbClr val="6AB2E4"/>
                </a:solidFill>
              </a:defRPr>
            </a:lvl1pPr>
            <a:lvl2pPr>
              <a:defRPr sz="2251">
                <a:solidFill>
                  <a:srgbClr val="6AB2E4"/>
                </a:solidFill>
              </a:defRPr>
            </a:lvl2pPr>
            <a:lvl3pPr>
              <a:defRPr sz="2251">
                <a:solidFill>
                  <a:srgbClr val="6AB2E4"/>
                </a:solidFill>
              </a:defRPr>
            </a:lvl3pPr>
            <a:lvl4pPr>
              <a:defRPr sz="2251">
                <a:solidFill>
                  <a:srgbClr val="6AB2E4"/>
                </a:solidFill>
              </a:defRPr>
            </a:lvl4pPr>
            <a:lvl5pPr>
              <a:defRPr sz="2251">
                <a:solidFill>
                  <a:srgbClr val="6AB2E4"/>
                </a:solidFill>
              </a:defRPr>
            </a:lvl5pPr>
          </a:lstStyle>
          <a:p>
            <a:r>
              <a:rPr dirty="0" err="1"/>
              <a:t>Texte</a:t>
            </a:r>
            <a:r>
              <a:rPr dirty="0"/>
              <a:t> </a:t>
            </a:r>
            <a:r>
              <a:rPr dirty="0" err="1"/>
              <a:t>niveau</a:t>
            </a:r>
            <a:r>
              <a:rPr dirty="0"/>
              <a:t> 1</a:t>
            </a:r>
          </a:p>
        </p:txBody>
      </p:sp>
      <p:sp>
        <p:nvSpPr>
          <p:cNvPr id="32" name="Numéro de diapositive"/>
          <p:cNvSpPr txBox="1">
            <a:spLocks noGrp="1"/>
          </p:cNvSpPr>
          <p:nvPr>
            <p:ph type="sldNum" sz="quarter" idx="2"/>
          </p:nvPr>
        </p:nvSpPr>
        <p:spPr>
          <a:xfrm>
            <a:off x="4299663" y="6276058"/>
            <a:ext cx="385923" cy="379789"/>
          </a:xfrm>
          <a:prstGeom prst="rect">
            <a:avLst/>
          </a:prstGeom>
        </p:spPr>
        <p:txBody>
          <a:bodyPr/>
          <a:lstStyle>
            <a:lvl1pPr algn="r">
              <a:defRPr sz="1350">
                <a:solidFill>
                  <a:srgbClr val="6AB2E4"/>
                </a:solidFill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833438" y="1661581"/>
            <a:ext cx="7739062" cy="4069600"/>
          </a:xfrm>
          <a:prstGeom prst="rect">
            <a:avLst/>
          </a:prstGeom>
        </p:spPr>
        <p:txBody>
          <a:bodyPr/>
          <a:lstStyle>
            <a:lvl1pPr>
              <a:spcBef>
                <a:spcPts val="451"/>
              </a:spcBef>
              <a:defRPr sz="1203">
                <a:latin typeface="Lato" panose="020F0502020204030203" pitchFamily="34" charset="0"/>
              </a:defRPr>
            </a:lvl1pPr>
            <a:lvl2pPr>
              <a:defRPr sz="1203"/>
            </a:lvl2pPr>
            <a:lvl3pPr>
              <a:spcBef>
                <a:spcPts val="451"/>
              </a:spcBef>
              <a:defRPr sz="1203">
                <a:latin typeface="Lato" panose="020F0502020204030203" pitchFamily="34" charset="0"/>
              </a:defRPr>
            </a:lvl3pPr>
            <a:lvl4pPr>
              <a:spcBef>
                <a:spcPts val="451"/>
              </a:spcBef>
              <a:defRPr sz="1203">
                <a:latin typeface="Lato" panose="020F0502020204030203" pitchFamily="34" charset="0"/>
              </a:defRPr>
            </a:lvl4pPr>
            <a:lvl5pPr>
              <a:spcBef>
                <a:spcPts val="451"/>
              </a:spcBef>
              <a:defRPr sz="1203">
                <a:latin typeface="Lato" panose="020F0502020204030203" pitchFamily="34" charset="0"/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0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38837998"/>
      </p:ext>
    </p:extLst>
  </p:cSld>
  <p:clrMapOvr>
    <a:masterClrMapping/>
  </p:clrMapOvr>
  <p:transition spd="med"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B04862A-A275-4962-837D-438AAAF79A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3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881999672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15DC091-25E3-4F9C-B34E-AA51D7B4FFF2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420307405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1113452763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BB04862A-A275-4962-837D-438AAAF79A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6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3856830730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669E2E9F-C84E-450D-8402-1BCEA5C57C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115DC091-25E3-4F9C-B34E-AA51D7B4FFF2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804565745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99237EC8-0F37-4006-A2D6-58914092D9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B21193A5-A9A9-4153-BE7B-299E672BDFA9}"/>
              </a:ext>
            </a:extLst>
          </p:cNvPr>
          <p:cNvSpPr txBox="1"/>
          <p:nvPr userDrawn="1"/>
        </p:nvSpPr>
        <p:spPr>
          <a:xfrm>
            <a:off x="972739" y="795330"/>
            <a:ext cx="1558707" cy="1456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8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8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56D09183-AD6B-41D1-909F-3607321DA17B}"/>
              </a:ext>
            </a:extLst>
          </p:cNvPr>
          <p:cNvSpPr txBox="1"/>
          <p:nvPr userDrawn="1"/>
        </p:nvSpPr>
        <p:spPr>
          <a:xfrm>
            <a:off x="2397276" y="1580160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060CB43-E3C8-4D16-ACF5-5364F1CBCEF5}"/>
              </a:ext>
            </a:extLst>
          </p:cNvPr>
          <p:cNvSpPr txBox="1"/>
          <p:nvPr userDrawn="1"/>
        </p:nvSpPr>
        <p:spPr>
          <a:xfrm>
            <a:off x="2397276" y="3043942"/>
            <a:ext cx="1558707" cy="660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692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A9F0351-4161-405E-9C53-254B7A0B07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1899" y="2049464"/>
            <a:ext cx="5929832" cy="1338630"/>
          </a:xfrm>
        </p:spPr>
        <p:txBody>
          <a:bodyPr anchor="ctr"/>
          <a:lstStyle>
            <a:lvl1pPr marL="0" indent="0">
              <a:buNone/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 sur une ou </a:t>
            </a:r>
            <a:br>
              <a:rPr lang="fr-FR"/>
            </a:br>
            <a:r>
              <a:rPr lang="fr-FR"/>
              <a:t>plusieurs lignes</a:t>
            </a:r>
          </a:p>
        </p:txBody>
      </p:sp>
      <p:sp>
        <p:nvSpPr>
          <p:cNvPr id="14" name="Espace réservé du texte 12">
            <a:extLst>
              <a:ext uri="{FF2B5EF4-FFF2-40B4-BE49-F238E27FC236}">
                <a16:creationId xmlns:a16="http://schemas.microsoft.com/office/drawing/2014/main" id="{014A0D55-14ED-44B7-8DBE-84F387C451E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1899" y="3679550"/>
            <a:ext cx="5929832" cy="734960"/>
          </a:xfrm>
        </p:spPr>
        <p:txBody>
          <a:bodyPr anchor="t">
            <a:normAutofit/>
          </a:bodyPr>
          <a:lstStyle>
            <a:lvl1pPr marL="0" indent="0">
              <a:buNone/>
              <a:defRPr sz="1662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ous titre ou sous catégorie</a:t>
            </a:r>
          </a:p>
        </p:txBody>
      </p:sp>
    </p:spTree>
    <p:extLst>
      <p:ext uri="{BB962C8B-B14F-4D97-AF65-F5344CB8AC3E}">
        <p14:creationId xmlns:p14="http://schemas.microsoft.com/office/powerpoint/2010/main" val="293792718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23D136EC-68F7-40A4-B62E-3FB85FCAA0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100" y="1884227"/>
            <a:ext cx="2765726" cy="4162009"/>
          </a:xfrm>
        </p:spPr>
        <p:txBody>
          <a:bodyPr>
            <a:normAutofit/>
          </a:bodyPr>
          <a:lstStyle>
            <a:lvl1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22041" indent="0">
              <a:buNone/>
              <a:defRPr sz="1108">
                <a:latin typeface="+mj-lt"/>
                <a:cs typeface="Calibri" panose="020F0502020204030204" pitchFamily="34" charset="0"/>
              </a:defRPr>
            </a:lvl2pPr>
            <a:lvl3pPr>
              <a:defRPr sz="1015">
                <a:latin typeface="+mj-lt"/>
                <a:cs typeface="Calibri" panose="020F0502020204030204" pitchFamily="34" charset="0"/>
              </a:defRPr>
            </a:lvl3pPr>
            <a:lvl4pPr>
              <a:defRPr sz="969">
                <a:latin typeface="+mj-lt"/>
                <a:cs typeface="Calibri" panose="020F0502020204030204" pitchFamily="34" charset="0"/>
              </a:defRPr>
            </a:lvl4pPr>
            <a:lvl5pPr>
              <a:defRPr sz="969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37DC2DC6-55F2-46F5-B80E-6BBD9A4A51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53246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292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356100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292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AD65204-B0CB-4991-8B0C-B9746E3D22B7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6150391" y="1226210"/>
            <a:ext cx="276572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292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9B9BB416-C38E-4CBD-A8EC-4331FBE8150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50391" y="1892716"/>
            <a:ext cx="2765726" cy="4162009"/>
          </a:xfrm>
        </p:spPr>
        <p:txBody>
          <a:bodyPr>
            <a:normAutofit/>
          </a:bodyPr>
          <a:lstStyle>
            <a:lvl1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+mj-lt"/>
                <a:cs typeface="Calibri" panose="020F0502020204030204" pitchFamily="34" charset="0"/>
              </a:defRPr>
            </a:lvl2pPr>
            <a:lvl3pPr>
              <a:defRPr sz="1015">
                <a:latin typeface="+mj-lt"/>
                <a:cs typeface="Calibri" panose="020F0502020204030204" pitchFamily="34" charset="0"/>
              </a:defRPr>
            </a:lvl3pPr>
            <a:lvl4pPr>
              <a:defRPr sz="969">
                <a:latin typeface="+mj-lt"/>
                <a:cs typeface="Calibri" panose="020F0502020204030204" pitchFamily="34" charset="0"/>
              </a:defRPr>
            </a:lvl4pPr>
            <a:lvl5pPr>
              <a:defRPr sz="969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5F790E96-9E07-46C7-BB7B-B97CB5326FD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74226" y="1892716"/>
            <a:ext cx="2765726" cy="4162009"/>
          </a:xfrm>
        </p:spPr>
        <p:txBody>
          <a:bodyPr>
            <a:normAutofit/>
          </a:bodyPr>
          <a:lstStyle>
            <a:lvl1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+mj-lt"/>
                <a:cs typeface="Calibri" panose="020F0502020204030204" pitchFamily="34" charset="0"/>
              </a:defRPr>
            </a:lvl2pPr>
            <a:lvl3pPr>
              <a:defRPr sz="1015">
                <a:latin typeface="+mj-lt"/>
                <a:cs typeface="Calibri" panose="020F0502020204030204" pitchFamily="34" charset="0"/>
              </a:defRPr>
            </a:lvl3pPr>
            <a:lvl4pPr>
              <a:defRPr sz="969">
                <a:latin typeface="+mj-lt"/>
                <a:cs typeface="Calibri" panose="020F0502020204030204" pitchFamily="34" charset="0"/>
              </a:defRPr>
            </a:lvl4pPr>
            <a:lvl5pPr>
              <a:defRPr sz="969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524F7423-5AA9-41B0-AC88-72E5CE075E95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79200EC6-7668-4554-BA1F-8FB9F3D0AA89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057BEAD0-7179-4613-8BBF-D38D717B07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94024977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5927FC9-AFBA-4533-BCE9-BF2203BFF6ED}"/>
              </a:ext>
            </a:extLst>
          </p:cNvPr>
          <p:cNvCxnSpPr>
            <a:cxnSpLocks/>
          </p:cNvCxnSpPr>
          <p:nvPr userDrawn="1"/>
        </p:nvCxnSpPr>
        <p:spPr>
          <a:xfrm>
            <a:off x="327259" y="683400"/>
            <a:ext cx="0" cy="317630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528013" cy="385003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7ECA01A5-9C59-4784-BBEC-6A9AE46AA63E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pic>
        <p:nvPicPr>
          <p:cNvPr id="25" name="Picture 1" descr="K:\A - Kit présentations\4 - Charte VERTONE et icones\Logo\1 - Nouveau logo 2011\VERTONE_logo3_SD-01.gif">
            <a:extLst>
              <a:ext uri="{FF2B5EF4-FFF2-40B4-BE49-F238E27FC236}">
                <a16:creationId xmlns:a16="http://schemas.microsoft.com/office/drawing/2014/main" id="{034C2EA5-AA95-42FD-BB85-7586551346B5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259" y="6575623"/>
            <a:ext cx="789558" cy="117561"/>
          </a:xfrm>
          <a:prstGeom prst="rect">
            <a:avLst/>
          </a:prstGeom>
          <a:noFill/>
        </p:spPr>
      </p:pic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29EA14-B1DB-447B-953F-9DC9AB18CE7B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641320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C0D204FE-FE6B-4844-AAAA-44AD6ABCD3D1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264113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4CFA60C5-EEF6-48FC-BB4B-3D6FF725B63F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952716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6B92C14B-F92C-4DC7-B9B0-1F148CA7590E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329924" y="1181496"/>
            <a:ext cx="1620000" cy="524536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831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5784559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23D136EC-68F7-40A4-B62E-3FB85FCAA0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8975" y="1892717"/>
            <a:ext cx="4055418" cy="4162009"/>
          </a:xfrm>
        </p:spPr>
        <p:txBody>
          <a:bodyPr>
            <a:normAutofit/>
          </a:bodyPr>
          <a:lstStyle>
            <a:lvl1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CAF82D6C-05AD-4A3B-9A0F-7E99EA6690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67289" y="1892716"/>
            <a:ext cx="4055418" cy="4162009"/>
          </a:xfrm>
        </p:spPr>
        <p:txBody>
          <a:bodyPr>
            <a:normAutofit/>
          </a:bodyPr>
          <a:lstStyle>
            <a:lvl1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37DC2DC6-55F2-46F5-B80E-6BBD9A4A519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28975" y="1315261"/>
            <a:ext cx="4012396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477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ED96272C-C29E-4B8F-8073-992D8FBE75D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821464" y="1315261"/>
            <a:ext cx="3995278" cy="479822"/>
          </a:xfrm>
          <a:prstGeom prst="rect">
            <a:avLst/>
          </a:prstGeom>
          <a:solidFill>
            <a:srgbClr val="50AAE2"/>
          </a:solidFill>
        </p:spPr>
        <p:txBody>
          <a:bodyPr anchor="t">
            <a:noAutofit/>
          </a:bodyPr>
          <a:lstStyle>
            <a:lvl1pPr marL="0" indent="0">
              <a:buNone/>
              <a:defRPr sz="1477" b="1">
                <a:solidFill>
                  <a:schemeClr val="bg1"/>
                </a:solidFill>
                <a:latin typeface="Calibri" panose="020F0502020204030204" pitchFamily="34" charset="0"/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BD632AA5-753E-4916-A319-0A6C615E0C6D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9CC12674-EC59-4076-8219-D2C1A0BCF719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9FA4E1DF-DD69-44BB-9121-48D12C0E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133083140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764505" y="1496755"/>
            <a:ext cx="4052470" cy="45579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779E4D4-BDB8-478E-A8E1-9F7D943117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1" y="1496788"/>
            <a:ext cx="4254365" cy="4557936"/>
          </a:xfrm>
        </p:spPr>
        <p:txBody>
          <a:bodyPr>
            <a:normAutofit/>
          </a:bodyPr>
          <a:lstStyle>
            <a:lvl1pPr>
              <a:defRPr sz="1477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id="{A17E7478-481B-40CA-A2C5-0CC6311D4B7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65CF8628-91D6-4E9B-8967-4C8B279A254D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76934DA3-D27C-46C2-8B71-5BBBF81B4296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093E479F-49BA-4ED5-8CCE-A54EAD6019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14755877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EB5686E0-D12E-4E20-B4BD-F9E63E0B5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6" y="241252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1000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29C038B-63C9-41DE-8C9D-07E34B585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0" y="1670956"/>
            <a:ext cx="8556857" cy="4435929"/>
          </a:xfrm>
        </p:spPr>
        <p:txBody>
          <a:bodyPr>
            <a:normAutofit/>
          </a:bodyPr>
          <a:lstStyle>
            <a:lvl1pPr>
              <a:defRPr sz="1800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3" name="Espace réservé du numéro de diapositive 6">
            <a:extLst>
              <a:ext uri="{FF2B5EF4-FFF2-40B4-BE49-F238E27FC236}">
                <a16:creationId xmlns:a16="http://schemas.microsoft.com/office/drawing/2014/main" id="{FC2F0DA0-AE1A-406E-9E60-EF99C282D326}"/>
              </a:ext>
            </a:extLst>
          </p:cNvPr>
          <p:cNvSpPr txBox="1">
            <a:spLocks/>
          </p:cNvSpPr>
          <p:nvPr userDrawn="1"/>
        </p:nvSpPr>
        <p:spPr>
          <a:xfrm>
            <a:off x="8159562" y="6533978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100" noProof="0" smtClean="0">
                <a:latin typeface="Calibri" panose="020F0502020204030204" pitchFamily="34" charset="0"/>
              </a:rPr>
              <a:pPr lvl="0"/>
              <a:t>‹N°›</a:t>
            </a:fld>
            <a:endParaRPr sz="1100" noProof="0">
              <a:latin typeface="Calibri" panose="020F0502020204030204" pitchFamily="34" charset="0"/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3B4148CC-1443-41EC-8060-1C80B1A7591F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9E147AA0-0360-4F27-A0A9-E3BD2A3420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0" y="654525"/>
            <a:ext cx="8528013" cy="608214"/>
          </a:xfrm>
        </p:spPr>
        <p:txBody>
          <a:bodyPr>
            <a:noAutofit/>
          </a:bodyPr>
          <a:lstStyle>
            <a:lvl1pPr marL="0" indent="0">
              <a:buNone/>
              <a:defRPr sz="2200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3CF30454-A564-498D-8768-BBC26C8A6312}"/>
              </a:ext>
            </a:extLst>
          </p:cNvPr>
          <p:cNvCxnSpPr/>
          <p:nvPr userDrawn="1"/>
        </p:nvCxnSpPr>
        <p:spPr>
          <a:xfrm>
            <a:off x="327259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5052684"/>
      </p:ext>
    </p:extLst>
  </p:cSld>
  <p:clrMapOvr>
    <a:masterClrMapping/>
  </p:clrMapOvr>
  <p:hf hdr="0" ftr="0" dt="0"/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31D465F2-425C-4D30-8465-DB3FF4C160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101" y="5601904"/>
            <a:ext cx="8460640" cy="452389"/>
          </a:xfrm>
        </p:spPr>
        <p:txBody>
          <a:bodyPr>
            <a:normAutofit/>
          </a:bodyPr>
          <a:lstStyle>
            <a:lvl1pPr marL="0" indent="0">
              <a:buNone/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7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Insérer ici la légend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7259" y="1222376"/>
            <a:ext cx="8489716" cy="42062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C10C022-5075-4122-8A74-4E8549572827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07EC75A-ADBD-454D-A76D-CB2F9FAB04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411" y="275797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38B36222-61E8-4AAF-A7B6-6587311797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2" name="Espace réservé du numéro de diapositive 6">
            <a:extLst>
              <a:ext uri="{FF2B5EF4-FFF2-40B4-BE49-F238E27FC236}">
                <a16:creationId xmlns:a16="http://schemas.microsoft.com/office/drawing/2014/main" id="{0C00F324-1AA0-4A39-AB49-44BCCA061610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pic>
        <p:nvPicPr>
          <p:cNvPr id="13" name="Picture 1" descr="K:\A - Kit présentations\4 - Charte VERTONE et icones\Logo\1 - Nouveau logo 2011\VERTONE_logo3_SD-01.gif">
            <a:extLst>
              <a:ext uri="{FF2B5EF4-FFF2-40B4-BE49-F238E27FC236}">
                <a16:creationId xmlns:a16="http://schemas.microsoft.com/office/drawing/2014/main" id="{30CA863F-B4E9-460D-8B96-60117E878A4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259" y="6575623"/>
            <a:ext cx="789558" cy="117561"/>
          </a:xfrm>
          <a:prstGeom prst="rect">
            <a:avLst/>
          </a:prstGeom>
          <a:noFill/>
        </p:spPr>
      </p:pic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73D097ED-A4DB-4B51-9E95-060FD94CED29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4784FB27-F38F-4309-83E6-84A9FFD77256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329876F9-07D9-4A16-ADED-E0654F766D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846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</p:spTree>
    <p:extLst>
      <p:ext uri="{BB962C8B-B14F-4D97-AF65-F5344CB8AC3E}">
        <p14:creationId xmlns:p14="http://schemas.microsoft.com/office/powerpoint/2010/main" val="2970811553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56FD2439-64DA-45E7-AD7E-3AFEB4F6F8FA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B46104AB-D2FF-413D-B669-CFF0A34C7A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91750D94-AFF6-4983-82C0-6A78F55646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D6108724-3766-474E-BB52-AA12F8FDA54D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sp>
        <p:nvSpPr>
          <p:cNvPr id="9" name="Parenthèses 8">
            <a:extLst>
              <a:ext uri="{FF2B5EF4-FFF2-40B4-BE49-F238E27FC236}">
                <a16:creationId xmlns:a16="http://schemas.microsoft.com/office/drawing/2014/main" id="{C3B1287E-4B2B-4AF7-BAA1-999B9F536A2E}"/>
              </a:ext>
            </a:extLst>
          </p:cNvPr>
          <p:cNvSpPr/>
          <p:nvPr userDrawn="1"/>
        </p:nvSpPr>
        <p:spPr>
          <a:xfrm rot="390995">
            <a:off x="7082794" y="193665"/>
            <a:ext cx="1836000" cy="246408"/>
          </a:xfrm>
          <a:prstGeom prst="bracketPair">
            <a:avLst/>
          </a:prstGeom>
          <a:solidFill>
            <a:srgbClr val="FFC5C5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8">
                <a:solidFill>
                  <a:srgbClr val="FF0000"/>
                </a:solidFill>
              </a:rPr>
              <a:t>Version de travail</a:t>
            </a:r>
          </a:p>
        </p:txBody>
      </p:sp>
    </p:spTree>
    <p:extLst>
      <p:ext uri="{BB962C8B-B14F-4D97-AF65-F5344CB8AC3E}">
        <p14:creationId xmlns:p14="http://schemas.microsoft.com/office/powerpoint/2010/main" val="251905020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>
            <a:extLst>
              <a:ext uri="{FF2B5EF4-FFF2-40B4-BE49-F238E27FC236}">
                <a16:creationId xmlns:a16="http://schemas.microsoft.com/office/drawing/2014/main" id="{AEC7BF55-A16A-49C1-AE68-02E80A567E01}"/>
              </a:ext>
            </a:extLst>
          </p:cNvPr>
          <p:cNvCxnSpPr/>
          <p:nvPr userDrawn="1"/>
        </p:nvCxnSpPr>
        <p:spPr>
          <a:xfrm>
            <a:off x="327260" y="52544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7514540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EB5686E0-D12E-4E20-B4BD-F9E63E0B5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460640" cy="38500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215" b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29C038B-63C9-41DE-8C9D-07E34B585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0" y="1222413"/>
            <a:ext cx="8556857" cy="48323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46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77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E3214949-0725-4429-9BDC-4624A0D0BD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/>
          <a:lstStyle/>
          <a:p>
            <a:r>
              <a:rPr lang="fr-FR"/>
              <a:t>- </a:t>
            </a:r>
            <a:fld id="{14A67E6E-0755-44ED-AC21-3B9DF6D2C900}" type="slidenum">
              <a:rPr lang="fr-FR" smtClean="0"/>
              <a:t>‹N°›</a:t>
            </a:fld>
            <a:r>
              <a:rPr lang="fr-FR"/>
              <a:t> -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C935C2CC-C68B-4CBC-8511-CB192F8D0099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794125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460640" cy="38500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215" b="0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31D465F2-425C-4D30-8465-DB3FF4C160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6101" y="5601904"/>
            <a:ext cx="8460640" cy="4523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7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92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/>
              <a:t>Insérer ici la légend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7259" y="1222376"/>
            <a:ext cx="8489716" cy="42062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07EC75A-ADBD-454D-A76D-CB2F9FAB04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8D081CFA-44B1-4E62-831F-6DA15E6E7E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- </a:t>
            </a:r>
            <a:fld id="{32542D6D-A1A3-47CA-B985-9FACF2720559}" type="slidenum">
              <a:rPr lang="fr-FR" smtClean="0"/>
              <a:pPr/>
              <a:t>‹N°›</a:t>
            </a:fld>
            <a:r>
              <a:rPr lang="fr-F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622061604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FC31AA2-8F3E-43D7-89AE-BB305AEDE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7"/>
            <a:ext cx="8460640" cy="3850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31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8053AFB5-5A3C-4BCD-94DB-5555CA075E0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764505" y="1222375"/>
            <a:ext cx="4052470" cy="4832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62" i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fr-FR"/>
          </a:p>
        </p:txBody>
      </p: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FB2239B2-DE30-4986-A8C1-B52B8C1D45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11" name="Espace réservé du texte 2">
            <a:extLst>
              <a:ext uri="{FF2B5EF4-FFF2-40B4-BE49-F238E27FC236}">
                <a16:creationId xmlns:a16="http://schemas.microsoft.com/office/drawing/2014/main" id="{C779E4D4-BDB8-478E-A8E1-9F7D9431178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1" y="1222413"/>
            <a:ext cx="4254365" cy="48323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46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662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77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2">
            <a:extLst>
              <a:ext uri="{FF2B5EF4-FFF2-40B4-BE49-F238E27FC236}">
                <a16:creationId xmlns:a16="http://schemas.microsoft.com/office/drawing/2014/main" id="{FD5281FC-DEA9-426C-86E2-9E3DB2D08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- </a:t>
            </a:r>
            <a:fld id="{32542D6D-A1A3-47CA-B985-9FACF2720559}" type="slidenum">
              <a:rPr lang="fr-FR" smtClean="0"/>
              <a:pPr/>
              <a:t>‹N°›</a:t>
            </a:fld>
            <a:r>
              <a:rPr lang="fr-F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49105285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56FD2439-64DA-45E7-AD7E-3AFEB4F6F8FA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B46104AB-D2FF-413D-B669-CFF0A34C7A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15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7" name="Espace réservé du pied de page 2">
            <a:extLst>
              <a:ext uri="{FF2B5EF4-FFF2-40B4-BE49-F238E27FC236}">
                <a16:creationId xmlns:a16="http://schemas.microsoft.com/office/drawing/2014/main" id="{83BB463B-8150-4CB4-AD71-8446D1DFCD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- </a:t>
            </a:r>
            <a:fld id="{32542D6D-A1A3-47CA-B985-9FACF2720559}" type="slidenum">
              <a:rPr lang="fr-FR" smtClean="0"/>
              <a:pPr/>
              <a:t>‹N°›</a:t>
            </a:fld>
            <a:r>
              <a:rPr lang="fr-FR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016702556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9AF36373-29E5-4E52-91A9-4653A72D1DBE}"/>
              </a:ext>
            </a:extLst>
          </p:cNvPr>
          <p:cNvCxnSpPr/>
          <p:nvPr userDrawn="1"/>
        </p:nvCxnSpPr>
        <p:spPr>
          <a:xfrm>
            <a:off x="327261" y="519766"/>
            <a:ext cx="8489482" cy="0"/>
          </a:xfrm>
          <a:prstGeom prst="line">
            <a:avLst/>
          </a:prstGeom>
          <a:ln>
            <a:solidFill>
              <a:srgbClr val="6EB8E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29C038B-63C9-41DE-8C9D-07E34B585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2" y="1222415"/>
            <a:ext cx="8556857" cy="4832313"/>
          </a:xfrm>
        </p:spPr>
        <p:txBody>
          <a:bodyPr>
            <a:normAutofit/>
          </a:bodyPr>
          <a:lstStyle>
            <a:lvl1pPr>
              <a:defRPr sz="1385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246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969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395012823"/>
      </p:ext>
    </p:extLst>
  </p:cSld>
  <p:clrMapOvr>
    <a:masterClrMapping/>
  </p:clrMapOvr>
  <p:hf hdr="0" ftr="0" dt="0"/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3084" y="6384644"/>
            <a:ext cx="1563657" cy="30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975886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91750D94-AFF6-4983-82C0-6A78F55646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id="{D6108724-3766-474E-BB52-AA12F8FDA54D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71178A14-599C-45D9-9BF0-1765FB3E4946}"/>
              </a:ext>
            </a:extLst>
          </p:cNvPr>
          <p:cNvCxnSpPr/>
          <p:nvPr userDrawn="1"/>
        </p:nvCxnSpPr>
        <p:spPr>
          <a:xfrm>
            <a:off x="341680" y="1025953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3518260E-717C-49B2-B426-FB3B8405D2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522" y="133763"/>
            <a:ext cx="8460640" cy="888040"/>
          </a:xfrm>
        </p:spPr>
        <p:txBody>
          <a:bodyPr anchor="ctr">
            <a:noAutofit/>
          </a:bodyPr>
          <a:lstStyle>
            <a:lvl1pPr marL="0" indent="0">
              <a:buNone/>
              <a:defRPr sz="2215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A3944C04-0B8D-437B-9ED1-145E37382367}"/>
              </a:ext>
            </a:extLst>
          </p:cNvPr>
          <p:cNvCxnSpPr>
            <a:cxnSpLocks/>
          </p:cNvCxnSpPr>
          <p:nvPr userDrawn="1"/>
        </p:nvCxnSpPr>
        <p:spPr>
          <a:xfrm>
            <a:off x="345903" y="127415"/>
            <a:ext cx="0" cy="894388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" descr="K:\A - Kit présentations\4 - Charte VERTONE et icones\Logo\1 - Nouveau logo 2011\VERTONE_logo3_SD-01.gif">
            <a:extLst>
              <a:ext uri="{FF2B5EF4-FFF2-40B4-BE49-F238E27FC236}">
                <a16:creationId xmlns:a16="http://schemas.microsoft.com/office/drawing/2014/main" id="{B7355B21-617A-499A-BE53-A13098DADE3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259" y="6575623"/>
            <a:ext cx="789558" cy="1175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454217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211486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059307A9-CCA1-C141-8CBA-EF3702A508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1171052-1C83-E947-8934-6A56CD4DB0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716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0DC2DEF-D8DD-D647-9566-83D46914D4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274638"/>
            <a:ext cx="7772400" cy="425450"/>
          </a:xfrm>
        </p:spPr>
        <p:txBody>
          <a:bodyPr>
            <a:normAutofit/>
          </a:bodyPr>
          <a:lstStyle>
            <a:lvl1pPr marL="0" indent="0">
              <a:buNone/>
              <a:defRPr sz="2105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1653926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8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07504" y="548687"/>
            <a:ext cx="8640000" cy="5988887"/>
          </a:xfrm>
          <a:prstGeom prst="rect">
            <a:avLst/>
          </a:prstGeom>
        </p:spPr>
      </p:pic>
      <p:sp>
        <p:nvSpPr>
          <p:cNvPr id="5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23529" y="332656"/>
            <a:ext cx="8352928" cy="2880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15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2769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fr-FR"/>
              <a:t>C</a:t>
            </a:r>
          </a:p>
        </p:txBody>
      </p:sp>
      <p:sp>
        <p:nvSpPr>
          <p:cNvPr id="11" name="Espace réservé du texte 8"/>
          <p:cNvSpPr>
            <a:spLocks noGrp="1"/>
          </p:cNvSpPr>
          <p:nvPr>
            <p:ph type="body" sz="quarter" idx="12"/>
          </p:nvPr>
        </p:nvSpPr>
        <p:spPr>
          <a:xfrm>
            <a:off x="467544" y="764704"/>
            <a:ext cx="8208912" cy="43204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2031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2769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fr-FR"/>
              <a:t>C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3"/>
          </p:nvPr>
        </p:nvSpPr>
        <p:spPr>
          <a:xfrm>
            <a:off x="468324" y="1988842"/>
            <a:ext cx="8208143" cy="3960219"/>
          </a:xfrm>
          <a:prstGeom prst="rect">
            <a:avLst/>
          </a:prstGeom>
        </p:spPr>
        <p:txBody>
          <a:bodyPr numCol="2"/>
          <a:lstStyle>
            <a:lvl1pPr marL="0" indent="0">
              <a:buFontTx/>
              <a:buNone/>
              <a:defRPr sz="1477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200" b="1">
                <a:solidFill>
                  <a:srgbClr val="56B3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0" indent="0">
              <a:lnSpc>
                <a:spcPts val="1292"/>
              </a:lnSpc>
              <a:buNone/>
              <a:defRPr sz="1015" b="1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0" indent="0" algn="l">
              <a:lnSpc>
                <a:spcPts val="1292"/>
              </a:lnSpc>
              <a:buFontTx/>
              <a:buNone/>
              <a:defRPr sz="1015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8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467555" y="1268760"/>
            <a:ext cx="8208143" cy="648072"/>
          </a:xfrm>
          <a:prstGeom prst="rect">
            <a:avLst/>
          </a:prstGeom>
        </p:spPr>
        <p:txBody>
          <a:bodyPr numCol="1"/>
          <a:lstStyle>
            <a:lvl1pPr marL="0" indent="0">
              <a:buFontTx/>
              <a:buNone/>
              <a:defRPr sz="1477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>
              <a:buFontTx/>
              <a:buNone/>
              <a:defRPr sz="1200" b="1">
                <a:solidFill>
                  <a:srgbClr val="56B3E5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lnSpc>
                <a:spcPts val="1292"/>
              </a:lnSpc>
              <a:buNone/>
              <a:defRPr sz="1015" b="1">
                <a:latin typeface="Arial" pitchFamily="34" charset="0"/>
                <a:cs typeface="Arial" pitchFamily="34" charset="0"/>
              </a:defRPr>
            </a:lvl3pPr>
            <a:lvl4pPr marL="0" indent="0" algn="l">
              <a:lnSpc>
                <a:spcPts val="1292"/>
              </a:lnSpc>
              <a:buFontTx/>
              <a:buNone/>
              <a:defRPr sz="1015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64567978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au + fo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numéro de diapositive 17">
            <a:extLst>
              <a:ext uri="{FF2B5EF4-FFF2-40B4-BE49-F238E27FC236}">
                <a16:creationId xmlns:a16="http://schemas.microsoft.com/office/drawing/2014/main" id="{C2CEE769-E6B3-D74C-BF35-411ABF9304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0847" y="6554552"/>
            <a:ext cx="267037" cy="10158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54"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fld id="{A02DBDA5-8F39-9846-8B3A-C11234E9599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" name="Espace réservé du tableau 2">
            <a:extLst>
              <a:ext uri="{FF2B5EF4-FFF2-40B4-BE49-F238E27FC236}">
                <a16:creationId xmlns:a16="http://schemas.microsoft.com/office/drawing/2014/main" id="{4474A7FD-450A-4B49-A05A-ACE58C39F32B}"/>
              </a:ext>
            </a:extLst>
          </p:cNvPr>
          <p:cNvSpPr>
            <a:spLocks noGrp="1"/>
          </p:cNvSpPr>
          <p:nvPr>
            <p:ph type="tbl" sz="quarter" idx="19"/>
          </p:nvPr>
        </p:nvSpPr>
        <p:spPr>
          <a:xfrm>
            <a:off x="278607" y="1631092"/>
            <a:ext cx="8576072" cy="474499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fr-FR"/>
              <a:t>Cliquez sur l'icône pour ajouter un tableau</a:t>
            </a:r>
          </a:p>
        </p:txBody>
      </p:sp>
      <p:sp>
        <p:nvSpPr>
          <p:cNvPr id="11" name="Espace réservé du texte 15">
            <a:extLst>
              <a:ext uri="{FF2B5EF4-FFF2-40B4-BE49-F238E27FC236}">
                <a16:creationId xmlns:a16="http://schemas.microsoft.com/office/drawing/2014/main" id="{95D2A995-CF0E-9C4D-A91A-1D991EBFB9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6542" y="6489702"/>
            <a:ext cx="3584615" cy="198179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ts val="762"/>
              </a:lnSpc>
              <a:buNone/>
              <a:defRPr sz="554" b="0" i="0" spc="69" baseline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316531" indent="0" algn="r">
              <a:buNone/>
              <a:defRPr b="1" i="0">
                <a:solidFill>
                  <a:schemeClr val="tx2"/>
                </a:solidFill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2pPr>
            <a:lvl3pPr marL="0" indent="0" algn="l">
              <a:buNone/>
              <a:defRPr sz="1246" b="0" i="0">
                <a:solidFill>
                  <a:schemeClr val="tx2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949593" indent="0" algn="r">
              <a:buNone/>
              <a:defRPr b="1" i="0">
                <a:solidFill>
                  <a:schemeClr val="tx2"/>
                </a:solidFill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defRPr>
            </a:lvl4pPr>
            <a:lvl5pPr marL="0" indent="0" algn="l">
              <a:buNone/>
              <a:defRPr sz="831" b="0" i="1">
                <a:solidFill>
                  <a:schemeClr val="tx2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5">
            <a:extLst>
              <a:ext uri="{FF2B5EF4-FFF2-40B4-BE49-F238E27FC236}">
                <a16:creationId xmlns:a16="http://schemas.microsoft.com/office/drawing/2014/main" id="{29CBF7D8-F65A-B94B-966A-273EAFD731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0430" y="368303"/>
            <a:ext cx="7344965" cy="749371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b="1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0" indent="0" algn="l">
              <a:lnSpc>
                <a:spcPts val="1523"/>
              </a:lnSpc>
              <a:buNone/>
              <a:defRPr sz="1385"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0" indent="0" algn="l">
              <a:buNone/>
              <a:defRPr b="0" i="0">
                <a:solidFill>
                  <a:schemeClr val="tx1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 algn="l">
              <a:lnSpc>
                <a:spcPts val="1108"/>
              </a:lnSpc>
              <a:buNone/>
              <a:defRPr sz="969" b="0" i="1">
                <a:solidFill>
                  <a:schemeClr val="tx1">
                    <a:lumMod val="7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4pPr>
            <a:lvl5pPr marL="0" indent="0" algn="l">
              <a:buNone/>
              <a:defRPr sz="969" b="0" i="1">
                <a:solidFill>
                  <a:schemeClr val="tx1">
                    <a:lumMod val="75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58415" y="-214926"/>
            <a:ext cx="1133954" cy="1438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808621"/>
      </p:ext>
    </p:extLst>
  </p:cSld>
  <p:clrMapOvr>
    <a:masterClrMapping/>
  </p:clrMapOvr>
  <p:transition spd="slow">
    <p:push dir="u"/>
  </p:transition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FC10C022-5075-4122-8A74-4E8549572827}"/>
              </a:ext>
            </a:extLst>
          </p:cNvPr>
          <p:cNvCxnSpPr/>
          <p:nvPr userDrawn="1"/>
        </p:nvCxnSpPr>
        <p:spPr>
          <a:xfrm>
            <a:off x="327261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texte 17">
            <a:extLst>
              <a:ext uri="{FF2B5EF4-FFF2-40B4-BE49-F238E27FC236}">
                <a16:creationId xmlns:a16="http://schemas.microsoft.com/office/drawing/2014/main" id="{207EC75A-ADBD-454D-A76D-CB2F9FAB04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412" y="275800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562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sp>
        <p:nvSpPr>
          <p:cNvPr id="12" name="Espace réservé du numéro de diapositive 6">
            <a:extLst>
              <a:ext uri="{FF2B5EF4-FFF2-40B4-BE49-F238E27FC236}">
                <a16:creationId xmlns:a16="http://schemas.microsoft.com/office/drawing/2014/main" id="{0C00F324-1AA0-4A39-AB49-44BCCA061610}"/>
              </a:ext>
            </a:extLst>
          </p:cNvPr>
          <p:cNvSpPr txBox="1">
            <a:spLocks/>
          </p:cNvSpPr>
          <p:nvPr userDrawn="1"/>
        </p:nvSpPr>
        <p:spPr>
          <a:xfrm>
            <a:off x="8159564" y="6533983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618" noProof="0" smtClean="0">
                <a:latin typeface="Calibri" panose="020F0502020204030204" pitchFamily="34" charset="0"/>
              </a:rPr>
              <a:pPr lvl="0"/>
              <a:t>‹N°›</a:t>
            </a:fld>
            <a:endParaRPr sz="618" noProof="0">
              <a:latin typeface="Calibri" panose="020F0502020204030204" pitchFamily="34" charset="0"/>
            </a:endParaRP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73D097ED-A4DB-4B51-9E95-060FD94CED29}"/>
              </a:ext>
            </a:extLst>
          </p:cNvPr>
          <p:cNvCxnSpPr/>
          <p:nvPr userDrawn="1"/>
        </p:nvCxnSpPr>
        <p:spPr>
          <a:xfrm>
            <a:off x="327261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4784FB27-F38F-4309-83E6-84A9FFD77256}"/>
              </a:ext>
            </a:extLst>
          </p:cNvPr>
          <p:cNvCxnSpPr>
            <a:cxnSpLocks/>
          </p:cNvCxnSpPr>
          <p:nvPr userDrawn="1"/>
        </p:nvCxnSpPr>
        <p:spPr>
          <a:xfrm>
            <a:off x="327258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Espace réservé du texte 17">
            <a:extLst>
              <a:ext uri="{FF2B5EF4-FFF2-40B4-BE49-F238E27FC236}">
                <a16:creationId xmlns:a16="http://schemas.microsoft.com/office/drawing/2014/main" id="{329876F9-07D9-4A16-ADED-E0654F766D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3" y="654525"/>
            <a:ext cx="8460640" cy="608214"/>
          </a:xfrm>
        </p:spPr>
        <p:txBody>
          <a:bodyPr>
            <a:noAutofit/>
          </a:bodyPr>
          <a:lstStyle>
            <a:lvl1pPr marL="0" indent="0">
              <a:buNone/>
              <a:defRPr sz="1125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33FF616D-47B9-4347-B985-A5D7C461F2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370" y="6397915"/>
            <a:ext cx="1172742" cy="30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028790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311708" y="992767"/>
            <a:ext cx="8520600" cy="2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311700" y="3778833"/>
            <a:ext cx="85206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84979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6" name="Google Shape;16;p3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1716935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 txBox="1">
            <a:spLocks noGrp="1"/>
          </p:cNvSpPr>
          <p:nvPr>
            <p:ph type="title"/>
          </p:nvPr>
        </p:nvSpPr>
        <p:spPr>
          <a:xfrm>
            <a:off x="311700" y="2867800"/>
            <a:ext cx="8520600" cy="1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75913486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39999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536633"/>
            <a:ext cx="39999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2588099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3663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740800"/>
            <a:ext cx="2808000" cy="10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852800"/>
            <a:ext cx="2808000" cy="42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032906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600200"/>
            <a:ext cx="6367800" cy="545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93466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69B986-A51F-D245-9BCC-3B1679B13915}"/>
              </a:ext>
            </a:extLst>
          </p:cNvPr>
          <p:cNvSpPr/>
          <p:nvPr/>
        </p:nvSpPr>
        <p:spPr>
          <a:xfrm>
            <a:off x="0" y="5805264"/>
            <a:ext cx="9144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62" b="0" i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963597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-167"/>
            <a:ext cx="4572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644233"/>
            <a:ext cx="4045200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3737433"/>
            <a:ext cx="4045200" cy="16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965433"/>
            <a:ext cx="3837000" cy="49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87854103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5640767"/>
            <a:ext cx="5998800" cy="8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6097936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474833"/>
            <a:ext cx="8520600" cy="26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4202967"/>
            <a:ext cx="8520600" cy="173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23954634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690898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E00F004F-2D04-7B4A-A582-B676C48B1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B77093A-8FD9-C743-8AB9-68B77F906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8"/>
            <a:ext cx="7772400" cy="425450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310900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52424"/>
            <a:ext cx="7772400" cy="4627563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>
              <a:spcBef>
                <a:spcPts val="900"/>
              </a:spcBef>
              <a:defRPr/>
            </a:lvl2pPr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ADDB5E15-B132-604E-A96C-467AD56986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4517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452424"/>
            <a:ext cx="77724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900"/>
              </a:spcBef>
              <a:buNone/>
              <a:defRPr sz="1200"/>
            </a:lvl1pPr>
            <a:lvl2pPr marL="171455" indent="-171455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342909" indent="-171455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3pPr>
            <a:lvl4pPr marL="514363" indent="-171455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4pPr>
            <a:lvl5pPr marL="685816" indent="-171455">
              <a:spcBef>
                <a:spcPts val="900"/>
              </a:spcBef>
              <a:buFont typeface="Open Sans Light" panose="020B0306030504020204" pitchFamily="34" charset="0"/>
              <a:buChar char="–"/>
              <a:defRPr sz="120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18470461-A83A-E840-9104-A76AC7AEE9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60648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7885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52424"/>
            <a:ext cx="381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52424"/>
            <a:ext cx="3810000" cy="452596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11585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B7B9635-D6E8-6542-8038-741450A4A3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8545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065312"/>
            <a:ext cx="3811588" cy="46166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1560285"/>
            <a:ext cx="3811588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065312"/>
            <a:ext cx="3813174" cy="461665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457211" indent="0">
              <a:buNone/>
              <a:defRPr sz="2000" b="1"/>
            </a:lvl2pPr>
            <a:lvl3pPr marL="914424" indent="0">
              <a:buNone/>
              <a:defRPr sz="1800" b="1"/>
            </a:lvl3pPr>
            <a:lvl4pPr marL="1371634" indent="0">
              <a:buNone/>
              <a:defRPr sz="1600" b="1"/>
            </a:lvl4pPr>
            <a:lvl5pPr marL="1828845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9" indent="0">
              <a:buNone/>
              <a:defRPr sz="1600" b="1"/>
            </a:lvl7pPr>
            <a:lvl8pPr marL="3200480" indent="0">
              <a:buNone/>
              <a:defRPr sz="1600" b="1"/>
            </a:lvl8pPr>
            <a:lvl9pPr marL="3657691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560285"/>
            <a:ext cx="3813174" cy="456587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D6DDDB84-1992-F648-B664-E15D6D7A61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6F39B69A-DF0C-C74B-AECB-8C84FDD6DF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46037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08948923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83F19B5F-D435-1149-B342-0F2F0C45FA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620EA93-C2A2-7F47-A352-980A54D240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089"/>
            <a:ext cx="7772400" cy="352425"/>
          </a:xfrm>
        </p:spPr>
        <p:txBody>
          <a:bodyPr>
            <a:normAutofit/>
          </a:bodyPr>
          <a:lstStyle>
            <a:lvl1pPr marL="0" indent="0">
              <a:buNone/>
              <a:defRPr sz="1348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297214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54348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9DE56FB2-AE45-264D-BFD7-170416578D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6289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que 1">
            <a:extLst>
              <a:ext uri="{FF2B5EF4-FFF2-40B4-BE49-F238E27FC236}">
                <a16:creationId xmlns:a16="http://schemas.microsoft.com/office/drawing/2014/main" id="{00BEF6B9-7CF7-AD4D-9BD8-DD59844438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4F20D2C-2F58-8341-84A1-6C9C6F946B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54348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654CB0F-3CD9-4441-AAA2-6FDC10CAA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41250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89209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gh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286763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573526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860287" y="0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286763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573526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860287" y="3419856"/>
            <a:ext cx="229743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9151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fteen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828230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656459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484687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312915" y="0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2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1828230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656459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484687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312915" y="2281428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2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828230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3656459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5484687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7312915" y="4562856"/>
            <a:ext cx="1831086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197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4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1521562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3043123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564686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607808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086247" y="0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1521562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3043123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564686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7607808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086247" y="1709928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1521562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3043123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564686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7607808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086247" y="3419856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1521562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3043123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4564686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607808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6086247" y="5129784"/>
            <a:ext cx="1536192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6053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3407438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6670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482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629400" y="4980569"/>
            <a:ext cx="1828800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266B491E-8DB3-F043-AE38-6C1B8D9A25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65619C-6DC0-E340-8E4D-22F8BC9E966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63988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961888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55499977-E8EC-4744-97B7-18E10E4DB2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A3BACF1-BB88-5B4A-85B4-E6BA0E7023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609984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3"/>
            <a:ext cx="249631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0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323844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961888" y="4980569"/>
            <a:ext cx="249631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6025935A-C352-B34F-8B46-598C300E4B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818EA5D-75AA-DE4E-AE56-1C4B23543A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265688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0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3A56DBC1-759F-7441-9298-3445D016AE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007D57B-268D-5C4C-AB39-804902E6BD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808873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3"/>
            <a:ext cx="3814192" cy="3407439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85801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644010" y="4980569"/>
            <a:ext cx="381419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CF4CDE3-2F4A-FF48-9887-9A9C3DFF9E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AD311C3-8CB6-3D4D-9C94-B2893CDD471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0560749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9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8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5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FA31A7D9-010F-474B-9516-467EE97D83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5DA64B4-19D6-4940-8229-DA7356FDE0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649389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4"/>
            <a:ext cx="1828800" cy="1476165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6239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6678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7115" y="3055281"/>
            <a:ext cx="1831086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0CA93C7B-3531-4149-9503-30719B4B4A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7319F52-594E-E44B-9500-FA84984DD2F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154822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43982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3055281"/>
            <a:ext cx="2496312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AAB8E42C-CA33-D44A-9946-4EFC2F8B41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5329BAE-3C57-B340-B862-946356B54B7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374224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F19EB1A3-0042-CA45-B582-129198E993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79151B5C-00AA-CC48-90DA-C2DE47117A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615749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147218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050"/>
            </a:lvl1pPr>
          </a:lstStyle>
          <a:p>
            <a:pPr lvl="0"/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3055281"/>
            <a:ext cx="3813048" cy="298833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694989D7-F531-FE4F-B946-5BAD301BCC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7634E98-0CB2-0A48-8FD4-40F397C3E3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713262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9" y="4717011"/>
            <a:ext cx="1831086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8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5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4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7" name="Graphique 16">
            <a:extLst>
              <a:ext uri="{FF2B5EF4-FFF2-40B4-BE49-F238E27FC236}">
                <a16:creationId xmlns:a16="http://schemas.microsoft.com/office/drawing/2014/main" id="{BB8D2062-AD3C-7D46-9953-DE503CF47A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21D69C5-DBA6-BF41-846B-6718080B62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0043860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0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62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74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8638" y="1397004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685039" y="4717011"/>
            <a:ext cx="1831086" cy="1326605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2665478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4645915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6626354" y="4717011"/>
            <a:ext cx="1831086" cy="1326605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6850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26662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6474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628638" y="3057006"/>
            <a:ext cx="1828800" cy="1476165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2A89A3B3-ED9F-B340-BD5B-E9699F9477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3666FBF-6FAF-6F4B-8B30-7C54522AFC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538217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4720990"/>
            <a:ext cx="2496312" cy="1370248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85800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323844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961888" y="3060985"/>
            <a:ext cx="249631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EEF6BB38-D89A-7C40-A577-40E43FEA08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D3CBC66-E198-B141-B0B1-B0DA212826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0815574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6946" y="1397000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5153" y="1397000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704409"/>
            <a:ext cx="3813048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704409"/>
            <a:ext cx="3813048" cy="1339207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86946" y="3060985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645153" y="3060985"/>
            <a:ext cx="3814192" cy="1472184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363588A7-351F-574F-A1B3-D5C433ED74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268BEFF-37F5-AB4C-A016-F42BED05B4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9723691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6999"/>
            <a:ext cx="1828800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4361217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4361217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4361217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4361217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88C2DAF-626B-364D-9098-A1709749D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629AE43-B5E4-9043-A3FA-0F7EBEBE16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4625826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6999"/>
            <a:ext cx="249631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4822882"/>
            <a:ext cx="2496312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4822882"/>
            <a:ext cx="2496312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4822882"/>
            <a:ext cx="2496312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A4036CC-97E5-B849-A2A9-7CCF911962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D165CD7-863A-0B4F-9531-94699F2D1A1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9281054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6999"/>
            <a:ext cx="381419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6999"/>
            <a:ext cx="3814192" cy="4266109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4822883"/>
            <a:ext cx="3813048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4822883"/>
            <a:ext cx="3813048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67C6BE1A-D729-5042-B853-CB90AED790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9565308-AC5C-3142-83A2-E89792A03F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72206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626665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2739174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2739174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2739174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2739174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4212305"/>
            <a:ext cx="1831086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666239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646678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627115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F0F881DA-A7CC-BD41-A84F-BF7A9D51CF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B4A0912B-C107-C44E-ACD7-611AF7E62D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9185134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6670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482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629400" y="1397000"/>
            <a:ext cx="1828800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685802" y="2739174"/>
            <a:ext cx="1831086" cy="130189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666239" y="2739174"/>
            <a:ext cx="1831086" cy="1301895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4646678" y="2739174"/>
            <a:ext cx="1831086" cy="1301895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627115" y="2739174"/>
            <a:ext cx="1831086" cy="1301895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685802" y="4212305"/>
            <a:ext cx="1831086" cy="1713558"/>
          </a:xfrm>
        </p:spPr>
        <p:txBody>
          <a:bodyPr/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2666239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4646678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6627115" y="4212305"/>
            <a:ext cx="1831086" cy="1713558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9440E4D-4DA5-4D4E-8661-8390073C06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339AC01-3C2B-3A4D-9F46-7F093BFE49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3003796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0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 dirty="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323844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961888" y="1397000"/>
            <a:ext cx="249631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39"/>
            <a:ext cx="2496312" cy="840230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323844" y="3200839"/>
            <a:ext cx="2496312" cy="840230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961888" y="3200839"/>
            <a:ext cx="2496312" cy="840230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323844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5961888" y="4212305"/>
            <a:ext cx="2496312" cy="1750692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795E97A-C56F-C049-B2AC-3775503493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6EB6E31-FB91-9041-B8C1-6FC719D3DC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491936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pic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42"/>
            <a:ext cx="3813048" cy="840230"/>
          </a:xfrm>
          <a:solidFill>
            <a:srgbClr val="3681C7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3200842"/>
            <a:ext cx="3813048" cy="840230"/>
          </a:xfrm>
          <a:solidFill>
            <a:srgbClr val="15A3E9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2F5563A4-00DA-0A4A-9191-3B7C3C63C6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0D37E20-FC27-B249-B0F0-0453E036D0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0888776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pics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1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44010" y="1397000"/>
            <a:ext cx="3814192" cy="2644068"/>
          </a:xfrm>
          <a:solidFill>
            <a:schemeClr val="bg1">
              <a:lumMod val="95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050"/>
            </a:lvl1pPr>
          </a:lstStyle>
          <a:p>
            <a:pPr marL="0" lvl="0" indent="0" algn="ctr">
              <a:buNone/>
            </a:pPr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85800" y="3200842"/>
            <a:ext cx="3813048" cy="840230"/>
          </a:xfrm>
          <a:solidFill>
            <a:srgbClr val="2C68A0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645152" y="3200842"/>
            <a:ext cx="3813048" cy="840230"/>
          </a:xfrm>
          <a:solidFill>
            <a:srgbClr val="1C476C"/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050">
                <a:solidFill>
                  <a:srgbClr val="FFFFFF"/>
                </a:solidFill>
              </a:defRPr>
            </a:lvl2pPr>
            <a:lvl3pPr marL="257188" indent="-128593">
              <a:defRPr sz="1050">
                <a:solidFill>
                  <a:srgbClr val="FFFFFF"/>
                </a:solidFill>
              </a:defRPr>
            </a:lvl3pPr>
            <a:lvl4pPr marL="385781" indent="-128593">
              <a:defRPr sz="1050">
                <a:solidFill>
                  <a:srgbClr val="FFFFFF"/>
                </a:solidFill>
              </a:defRPr>
            </a:lvl4pPr>
            <a:lvl5pPr marL="557240" indent="-171458"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685800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645152" y="4212305"/>
            <a:ext cx="3813048" cy="1703066"/>
          </a:xfrm>
        </p:spPr>
        <p:txBody>
          <a:bodyPr/>
          <a:lstStyle>
            <a:lvl1pPr marL="0" indent="0">
              <a:buNone/>
              <a:defRPr sz="1575"/>
            </a:lvl1pPr>
            <a:lvl2pPr marL="128593" indent="-128593">
              <a:buFont typeface="Arial" panose="020B0604020202020204" pitchFamily="34" charset="0"/>
              <a:buChar char="•"/>
              <a:defRPr sz="1050"/>
            </a:lvl2pPr>
            <a:lvl3pPr marL="257188" indent="-128593">
              <a:defRPr sz="1050"/>
            </a:lvl3pPr>
            <a:lvl4pPr marL="385781" indent="-128593"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13" name="Graphique 12">
            <a:extLst>
              <a:ext uri="{FF2B5EF4-FFF2-40B4-BE49-F238E27FC236}">
                <a16:creationId xmlns:a16="http://schemas.microsoft.com/office/drawing/2014/main" id="{EBBA0772-2351-A74B-BDE0-3FF4260101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D0A74A77-8429-6948-B720-9EB3CE4A81C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300840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8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2612782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409681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4794025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5590922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975267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7772165" y="1639789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8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612782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3409681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4794025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5590922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975267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7772165" y="3153547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8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2612782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3409681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4794025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5590922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975267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7772165" y="4667304"/>
            <a:ext cx="1034421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50" name="Graphique 49">
            <a:extLst>
              <a:ext uri="{FF2B5EF4-FFF2-40B4-BE49-F238E27FC236}">
                <a16:creationId xmlns:a16="http://schemas.microsoft.com/office/drawing/2014/main" id="{D058E5D0-D554-E74A-87ED-C98A24C4D4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612EA65-720A-4949-A1AF-2F2E8F0D69A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567406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9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9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6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6" y="1639789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3" y="1639789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9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3153548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6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6" y="315354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3" y="3153547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431540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228439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270244" y="4667305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069976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108946" y="4667304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6911513" y="4667304"/>
            <a:ext cx="1735806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7312B073-661F-FB4E-AF0D-6080D8E7A9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0864F43-5915-E549-8CCF-3116EF2F18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696225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6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0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228439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270244" y="1639790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069976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108946" y="1639789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911513" y="1639792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0" y="388657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228439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270244" y="3886577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069976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108946" y="3886576"/>
            <a:ext cx="685800" cy="914400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6911513" y="3886579"/>
            <a:ext cx="1735806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654AAC40-CD50-F84E-85F5-562C212445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988FE156-5781-9142-82F5-0A123F5397E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6213353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rect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1541" y="1639790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721530" y="1639792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709853" y="1639790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6002677" y="1639792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431541" y="3886577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721530" y="3886579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709853" y="3886577"/>
            <a:ext cx="1150615" cy="1534154"/>
          </a:xfr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6002677" y="3886579"/>
            <a:ext cx="2669009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05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 i="1"/>
            </a:lvl2pPr>
            <a:lvl3pPr marL="0" indent="0">
              <a:buNone/>
              <a:defRPr sz="90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BC51E826-0E67-C244-9010-FD4209835C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5020CB4-0DAD-0A44-8D83-1434A8B5ADF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39252595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3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3554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173170" y="1988840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431543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11874" y="1988840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270246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50575" y="1988839"/>
            <a:ext cx="1049445" cy="105021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108949" y="3256996"/>
            <a:ext cx="2532702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AAA5E498-2F5F-D245-888E-6ABB881D0E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58C416B-B627-0442-8DAC-E45FFAD75D1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481147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46407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4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84740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6202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39441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019098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2642337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5121995" y="1952836"/>
            <a:ext cx="1049445" cy="108621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4745234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685800" y="77945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7224893" y="1952836"/>
            <a:ext cx="1049445" cy="1086213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787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6848130" y="3256996"/>
            <a:ext cx="180296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1500" b="0" i="0"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i="1"/>
            </a:lvl2pPr>
            <a:lvl3pPr marL="0" indent="0" algn="ctr">
              <a:buNone/>
              <a:defRPr sz="1050"/>
            </a:lvl3pPr>
            <a:lvl4pPr marL="385781" indent="-128593"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EE6D15DB-1BDB-3A46-AC60-80C3313397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64459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profi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075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85802" y="1268759"/>
            <a:ext cx="1764195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693479" y="1268759"/>
            <a:ext cx="1764195" cy="353568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600781" y="1268759"/>
            <a:ext cx="1859858" cy="3535680"/>
          </a:xfrm>
        </p:spPr>
        <p:txBody>
          <a:bodyPr>
            <a:noAutofit/>
          </a:bodyPr>
          <a:lstStyle>
            <a:lvl1pPr marL="0" indent="0">
              <a:buNone/>
              <a:defRPr sz="1050" b="0" i="0">
                <a:solidFill>
                  <a:schemeClr val="accent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050"/>
            </a:lvl2pPr>
            <a:lvl3pPr marL="113116" indent="-113116">
              <a:defRPr sz="1050"/>
            </a:lvl3pPr>
            <a:lvl4pPr marL="301244" indent="-155980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598342" y="1268759"/>
            <a:ext cx="1859858" cy="3535680"/>
          </a:xfrm>
        </p:spPr>
        <p:txBody>
          <a:bodyPr>
            <a:noAutofit/>
          </a:bodyPr>
          <a:lstStyle>
            <a:lvl1pPr marL="0" indent="0">
              <a:buNone/>
              <a:defRPr sz="1050" b="0" i="0">
                <a:solidFill>
                  <a:schemeClr val="accent1"/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defRPr>
            </a:lvl1pPr>
            <a:lvl2pPr marL="0" indent="0">
              <a:buFontTx/>
              <a:buNone/>
              <a:defRPr sz="1050"/>
            </a:lvl2pPr>
            <a:lvl3pPr marL="113116" indent="-113116">
              <a:defRPr sz="1050"/>
            </a:lvl3pPr>
            <a:lvl4pPr marL="301244" indent="-155980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85802" y="4980569"/>
            <a:ext cx="3774839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4693479" y="4980569"/>
            <a:ext cx="3764722" cy="958851"/>
          </a:xfrm>
        </p:spPr>
        <p:txBody>
          <a:bodyPr>
            <a:noAutofit/>
          </a:bodyPr>
          <a:lstStyle>
            <a:lvl1pPr marL="0" indent="0">
              <a:buNone/>
              <a:defRPr sz="1050"/>
            </a:lvl1pPr>
            <a:lvl2pPr marL="114303" indent="-114303">
              <a:buFont typeface="Arial" panose="020B0604020202020204" pitchFamily="34" charset="0"/>
              <a:buChar char="•"/>
              <a:defRPr sz="1050"/>
            </a:lvl2pPr>
            <a:lvl3pPr marL="228606" indent="-114303">
              <a:defRPr sz="1050"/>
            </a:lvl3pPr>
            <a:lvl4pPr marL="400060" indent="-171455">
              <a:defRPr sz="1050"/>
            </a:lvl4pPr>
            <a:lvl5pPr marL="571515" indent="-171455"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73421630-C055-AD46-807F-7527B40694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22C3340-8B3F-F94F-B841-3DB7533A7F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332732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37F238E-2272-B64B-BE86-BB5802AF8B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Sommaire</a:t>
            </a:r>
          </a:p>
        </p:txBody>
      </p:sp>
      <p:pic>
        <p:nvPicPr>
          <p:cNvPr id="3" name="Graphique 2">
            <a:extLst>
              <a:ext uri="{FF2B5EF4-FFF2-40B4-BE49-F238E27FC236}">
                <a16:creationId xmlns:a16="http://schemas.microsoft.com/office/drawing/2014/main" id="{F416AABB-F4D5-EC4A-8BD3-2A7729B153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9C8710B-904F-4845-9965-3985248304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10924" y="1329208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Votre contexte et nos convictions</a:t>
            </a:r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D874D45C-B5C6-484B-8C84-1985BBCDCC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10924" y="1967246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Notre compréhension de votre besoi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5EB03AE5-F532-EC46-BF40-2B70614D0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96517" y="1339496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2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93C4BEEA-D7CC-3346-8BCC-97EB4B3569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96517" y="1960906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12</a:t>
            </a:r>
          </a:p>
        </p:txBody>
      </p:sp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6C80F3FE-B847-ED4D-A8B0-A1799236F8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0924" y="2605284"/>
            <a:ext cx="4620357" cy="431800"/>
          </a:xfrm>
        </p:spPr>
        <p:txBody>
          <a:bodyPr/>
          <a:lstStyle>
            <a:lvl1pPr marL="0" indent="0">
              <a:buNone/>
              <a:defRPr/>
            </a:lvl1pPr>
            <a:lvl2pPr marL="171454" indent="0">
              <a:buNone/>
              <a:defRPr/>
            </a:lvl2pPr>
          </a:lstStyle>
          <a:p>
            <a:pPr lvl="0"/>
            <a:r>
              <a:rPr lang="fr-FR"/>
              <a:t>Nos atouts pour vous accompagner</a:t>
            </a: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1BB615FC-68E1-5444-89A7-64B95A8D12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0924" y="3243322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tre approche</a:t>
            </a:r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37461C81-B2B0-2148-B4F9-C8D26805CF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0924" y="3881360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tre équip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6A2140F-399F-1943-8460-73DB4C94C4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10924" y="4519398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Nos références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33C7D74F-B68B-864F-B70E-246FFEFBD3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10924" y="5157440"/>
            <a:ext cx="4620357" cy="431800"/>
          </a:xfrm>
        </p:spPr>
        <p:txBody>
          <a:bodyPr/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lvl1pPr>
            <a:lvl2pPr marL="171454" indent="0">
              <a:buNone/>
              <a:defRPr/>
            </a:lvl2pPr>
          </a:lstStyle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1662" b="0" spc="0">
                <a:solidFill>
                  <a:schemeClr val="tx1"/>
                </a:solidFill>
              </a:rPr>
              <a:t>Annexes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62BD1F17-F44D-4B40-A93E-0DAF56410E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96517" y="2605284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14</a:t>
            </a: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88FC0D92-FB17-8A42-ACD5-A4CB7EB6E4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6517" y="3243322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34</a:t>
            </a:r>
          </a:p>
        </p:txBody>
      </p:sp>
      <p:sp>
        <p:nvSpPr>
          <p:cNvPr id="17" name="Espace réservé du texte 7">
            <a:extLst>
              <a:ext uri="{FF2B5EF4-FFF2-40B4-BE49-F238E27FC236}">
                <a16:creationId xmlns:a16="http://schemas.microsoft.com/office/drawing/2014/main" id="{499DF0D9-4EEF-4541-A78A-754598DB6FC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296517" y="3881360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41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E1C46BE9-5EB8-FA4A-9D6C-F0038E1124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96517" y="4519398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48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8BFB148-9381-7147-A784-780A5F0AE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96517" y="5156671"/>
            <a:ext cx="465992" cy="431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p50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0885B62-4F40-5A4F-9C7F-2C55A690D31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758678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6">
            <a:extLst>
              <a:ext uri="{FF2B5EF4-FFF2-40B4-BE49-F238E27FC236}">
                <a16:creationId xmlns:a16="http://schemas.microsoft.com/office/drawing/2014/main" id="{D561C17F-D64D-114D-BC58-98CF72A78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9705" y="1622789"/>
            <a:ext cx="3452214" cy="2892343"/>
          </a:xfrm>
        </p:spPr>
        <p:txBody>
          <a:bodyPr>
            <a:normAutofit/>
          </a:bodyPr>
          <a:lstStyle>
            <a:lvl1pPr marL="0" indent="0" algn="l">
              <a:buNone/>
              <a:defRPr sz="923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Nunc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fr-FR" sz="831" b="0" i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Espace réservé du texte 16">
            <a:extLst>
              <a:ext uri="{FF2B5EF4-FFF2-40B4-BE49-F238E27FC236}">
                <a16:creationId xmlns:a16="http://schemas.microsoft.com/office/drawing/2014/main" id="{B7180C5D-135F-DE49-867C-FCEA74E7FF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88551" y="1622789"/>
            <a:ext cx="3469650" cy="2892343"/>
          </a:xfrm>
        </p:spPr>
        <p:txBody>
          <a:bodyPr>
            <a:normAutofit/>
          </a:bodyPr>
          <a:lstStyle>
            <a:lvl1pPr marL="0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 algn="l">
              <a:buNone/>
              <a:defRPr sz="831" b="0" i="1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Nun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habitan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orbi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tristique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n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e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am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urp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roin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nonummy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ed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.Lore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e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rttito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ssa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ed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lect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libero,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magn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urn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Nunc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imperdiet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est.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fr-FR" sz="831" b="0" i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fr-FR" sz="831" b="0" i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fr-FR" sz="831" b="0" i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6" name="Espace réservé du texte 20">
            <a:extLst>
              <a:ext uri="{FF2B5EF4-FFF2-40B4-BE49-F238E27FC236}">
                <a16:creationId xmlns:a16="http://schemas.microsoft.com/office/drawing/2014/main" id="{4ECCDA16-844E-8745-8D37-6665F155DD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9705" y="1203837"/>
            <a:ext cx="3452214" cy="316950"/>
          </a:xfrm>
        </p:spPr>
        <p:txBody>
          <a:bodyPr>
            <a:noAutofit/>
          </a:bodyPr>
          <a:lstStyle>
            <a:lvl1pPr marL="0" indent="0">
              <a:buNone/>
              <a:defRPr sz="1108" b="0" i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AMET, CONSECTETUR ADIPISCING ELIT. MORBI VITAE AUGUE FERMENTUM</a:t>
            </a:r>
          </a:p>
        </p:txBody>
      </p:sp>
      <p:sp>
        <p:nvSpPr>
          <p:cNvPr id="18" name="Espace réservé du texte 20">
            <a:extLst>
              <a:ext uri="{FF2B5EF4-FFF2-40B4-BE49-F238E27FC236}">
                <a16:creationId xmlns:a16="http://schemas.microsoft.com/office/drawing/2014/main" id="{909D0FBB-486C-5642-805D-EE519DBE0C7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88550" y="1203837"/>
            <a:ext cx="3452214" cy="316950"/>
          </a:xfrm>
        </p:spPr>
        <p:txBody>
          <a:bodyPr>
            <a:noAutofit/>
          </a:bodyPr>
          <a:lstStyle>
            <a:lvl1pPr marL="0" indent="0">
              <a:buNone/>
              <a:defRPr sz="1108" b="0" i="0">
                <a:solidFill>
                  <a:schemeClr val="bg2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>
              <a:defRPr sz="923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 IPSUM DOLOR SIT AMET, CONSECTETUR ADIPISCING ELIT. MORBI VITAE AUGUE FERMENTUM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:a16="http://schemas.microsoft.com/office/drawing/2014/main" id="{DDD2C8DC-3776-DD45-8F8A-39D71644FEF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800" y="4689476"/>
            <a:ext cx="3446585" cy="251693"/>
          </a:xfrm>
        </p:spPr>
        <p:txBody>
          <a:bodyPr>
            <a:normAutofit/>
          </a:bodyPr>
          <a:lstStyle>
            <a:lvl1pPr marL="0" indent="0" algn="l">
              <a:buNone/>
              <a:defRPr sz="923"/>
            </a:lvl1pPr>
            <a:lvl2pPr marL="171454" indent="0" algn="l">
              <a:buNone/>
              <a:defRPr/>
            </a:lvl2pPr>
            <a:lvl3pPr marL="344496" indent="0" algn="l">
              <a:buNone/>
              <a:defRPr/>
            </a:lvl3pPr>
            <a:lvl4pPr marL="515949" indent="0" algn="l">
              <a:buNone/>
              <a:defRPr/>
            </a:lvl4pPr>
            <a:lvl5pPr marL="687405" indent="0" algn="l">
              <a:buNone/>
              <a:defRPr/>
            </a:lvl5pPr>
          </a:lstStyle>
          <a:p>
            <a:pPr lvl="0"/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dum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dale</a:t>
            </a:r>
            <a:endParaRPr kumimoji="0" lang="en-US" sz="831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1" name="Espace réservé du texte 19">
            <a:extLst>
              <a:ext uri="{FF2B5EF4-FFF2-40B4-BE49-F238E27FC236}">
                <a16:creationId xmlns:a16="http://schemas.microsoft.com/office/drawing/2014/main" id="{030BA8CF-0947-3A4E-8884-1F6CEC977A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94645" y="4689476"/>
            <a:ext cx="3446585" cy="251693"/>
          </a:xfrm>
        </p:spPr>
        <p:txBody>
          <a:bodyPr>
            <a:normAutofit/>
          </a:bodyPr>
          <a:lstStyle>
            <a:lvl1pPr marL="0" indent="0" algn="l">
              <a:buNone/>
              <a:defRPr sz="923"/>
            </a:lvl1pPr>
            <a:lvl2pPr marL="171454" indent="0" algn="l">
              <a:buNone/>
              <a:defRPr/>
            </a:lvl2pPr>
            <a:lvl3pPr marL="344496" indent="0" algn="l">
              <a:buNone/>
              <a:defRPr/>
            </a:lvl3pPr>
            <a:lvl4pPr marL="515949" indent="0" algn="l">
              <a:buNone/>
              <a:defRPr/>
            </a:lvl4pPr>
            <a:lvl5pPr marL="687405" indent="0" algn="l">
              <a:buNone/>
              <a:defRPr/>
            </a:lvl5pPr>
          </a:lstStyle>
          <a:p>
            <a:pPr lvl="0"/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terdum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en-US" sz="831" b="0" i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nec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it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suere</a:t>
            </a:r>
            <a:r>
              <a:rPr lang="en-US" sz="831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US" sz="831" b="0" i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dale</a:t>
            </a:r>
            <a:endParaRPr kumimoji="0" lang="en-US" sz="831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Titre 1">
            <a:extLst>
              <a:ext uri="{FF2B5EF4-FFF2-40B4-BE49-F238E27FC236}">
                <a16:creationId xmlns:a16="http://schemas.microsoft.com/office/drawing/2014/main" id="{8F593E58-673D-1148-A3BB-0462D71551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16943"/>
            <a:ext cx="7772400" cy="340724"/>
          </a:xfrm>
        </p:spPr>
        <p:txBody>
          <a:bodyPr anchor="t"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endParaRPr lang="fr-FR"/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7F562348-6639-094F-975D-DC1D19C487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0EFFCB1-6ED5-BB40-B1FE-61B71ED63A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2094969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t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C8467E19-8FBC-2846-A58D-3265F52127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410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F482980A-F64E-EF40-B05C-78A6EDAC86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89865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D6B9960-A269-F14A-989C-A5B255FD27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05029" y="1937349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115A1495-E42C-DF46-990F-D0ADC21BE2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410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D30F3E7F-9CC4-EF42-90C1-4BB9B05ABE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9865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068EB0D8-3880-5E4E-A524-E07BDA667B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05029" y="4329100"/>
            <a:ext cx="2316596" cy="165989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9">
            <a:extLst>
              <a:ext uri="{FF2B5EF4-FFF2-40B4-BE49-F238E27FC236}">
                <a16:creationId xmlns:a16="http://schemas.microsoft.com/office/drawing/2014/main" id="{6DB02B1F-DA00-4F4A-95BF-91EF515530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5164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1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BDA18899-EFD1-FF48-A3B7-8FE5811E0B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86717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2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DDF5498E-6E23-6849-8D8E-4D29F138D4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01879" y="1439686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3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8DAF3E67-D170-F742-A095-7878D0AE9C7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5164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4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6033A3A2-B688-F34A-985C-24CD9D7D11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86717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5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61405870-F208-BC4C-8EDE-89049CBC224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01879" y="3850377"/>
            <a:ext cx="2313843" cy="369134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rgbClr val="0070C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OUT 6</a:t>
            </a:r>
          </a:p>
        </p:txBody>
      </p:sp>
      <p:sp>
        <p:nvSpPr>
          <p:cNvPr id="16" name="Titre 1">
            <a:extLst>
              <a:ext uri="{FF2B5EF4-FFF2-40B4-BE49-F238E27FC236}">
                <a16:creationId xmlns:a16="http://schemas.microsoft.com/office/drawing/2014/main" id="{F8A2ADC4-8B85-224C-A734-BEE3109D5C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16943"/>
            <a:ext cx="7772400" cy="340724"/>
          </a:xfrm>
        </p:spPr>
        <p:txBody>
          <a:bodyPr anchor="ctr"/>
          <a:lstStyle>
            <a:lvl1pPr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fr-FR"/>
              <a:t>Atouts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171D64AC-1285-D043-939C-14FBB09DC9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A32DEDA-6678-8045-BC0F-1BC7CBE609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7564822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51972"/>
            <a:ext cx="7772400" cy="628756"/>
          </a:xfrm>
        </p:spPr>
        <p:txBody>
          <a:bodyPr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r>
              <a:rPr lang="fr-FR"/>
              <a:t> </a:t>
            </a:r>
            <a:r>
              <a:rPr lang="fr-FR" err="1"/>
              <a:t>hastisque</a:t>
            </a:r>
            <a:r>
              <a:rPr lang="fr-FR"/>
              <a:t> </a:t>
            </a:r>
            <a:r>
              <a:rPr lang="fr-FR" err="1"/>
              <a:t>feriens</a:t>
            </a:r>
            <a:r>
              <a:rPr lang="fr-FR"/>
              <a:t> scuta qui habitus </a:t>
            </a:r>
            <a:r>
              <a:rPr lang="fr-FR" err="1"/>
              <a:t>iram</a:t>
            </a:r>
            <a:r>
              <a:rPr lang="fr-FR"/>
              <a:t> </a:t>
            </a:r>
            <a:r>
              <a:rPr lang="fr-FR" err="1"/>
              <a:t>pugnantium</a:t>
            </a:r>
            <a:r>
              <a:rPr lang="fr-FR"/>
              <a:t> </a:t>
            </a:r>
            <a:r>
              <a:rPr lang="fr-FR" err="1"/>
              <a:t>concitat</a:t>
            </a:r>
            <a:endParaRPr lang="fr-FR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BE6FF84-B617-E844-A665-802CB0BAA502}"/>
              </a:ext>
            </a:extLst>
          </p:cNvPr>
          <p:cNvSpPr txBox="1">
            <a:spLocks/>
          </p:cNvSpPr>
          <p:nvPr/>
        </p:nvSpPr>
        <p:spPr>
          <a:xfrm>
            <a:off x="499525" y="1520788"/>
            <a:ext cx="996923" cy="108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1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46D5411-8278-F64F-AA41-84F0085ACF3C}"/>
              </a:ext>
            </a:extLst>
          </p:cNvPr>
          <p:cNvSpPr txBox="1">
            <a:spLocks/>
          </p:cNvSpPr>
          <p:nvPr/>
        </p:nvSpPr>
        <p:spPr>
          <a:xfrm>
            <a:off x="1952315" y="1520788"/>
            <a:ext cx="996923" cy="1080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2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A94810E-A474-BD49-9067-F2AB653D88A2}"/>
              </a:ext>
            </a:extLst>
          </p:cNvPr>
          <p:cNvSpPr txBox="1">
            <a:spLocks/>
          </p:cNvSpPr>
          <p:nvPr/>
        </p:nvSpPr>
        <p:spPr>
          <a:xfrm>
            <a:off x="3375559" y="1520788"/>
            <a:ext cx="996923" cy="1080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3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37D1E30-4E08-8545-A624-D93B2135F95B}"/>
              </a:ext>
            </a:extLst>
          </p:cNvPr>
          <p:cNvSpPr txBox="1">
            <a:spLocks/>
          </p:cNvSpPr>
          <p:nvPr/>
        </p:nvSpPr>
        <p:spPr>
          <a:xfrm>
            <a:off x="4798804" y="1520788"/>
            <a:ext cx="996923" cy="108000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4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181B2A05-904A-FC4A-BA0A-83CA23EE5164}"/>
              </a:ext>
            </a:extLst>
          </p:cNvPr>
          <p:cNvSpPr txBox="1">
            <a:spLocks/>
          </p:cNvSpPr>
          <p:nvPr/>
        </p:nvSpPr>
        <p:spPr>
          <a:xfrm>
            <a:off x="6222048" y="1520788"/>
            <a:ext cx="996923" cy="1080000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fr-FR" sz="3323" b="0" i="0">
                <a:latin typeface="Segoe UI Light" panose="020B0502040204020203" pitchFamily="34" charset="0"/>
              </a:rPr>
              <a:t>5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DC88F8A3-273F-CB4C-AF48-54804BE7C37A}"/>
              </a:ext>
            </a:extLst>
          </p:cNvPr>
          <p:cNvSpPr txBox="1">
            <a:spLocks/>
          </p:cNvSpPr>
          <p:nvPr/>
        </p:nvSpPr>
        <p:spPr>
          <a:xfrm>
            <a:off x="7645294" y="1520788"/>
            <a:ext cx="996923" cy="1080000"/>
          </a:xfrm>
          <a:prstGeom prst="ellipse">
            <a:avLst/>
          </a:prstGeom>
          <a:solidFill>
            <a:schemeClr val="accent5">
              <a:lumMod val="50000"/>
            </a:schemeClr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fr-FR" sz="3600" b="1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r>
              <a:rPr lang="fr-FR" sz="3231" b="0" i="0">
                <a:latin typeface="Segoe UI Light" panose="020B0502040204020203" pitchFamily="34" charset="0"/>
              </a:rPr>
              <a:t>6</a:t>
            </a:r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5B872118-8F18-8B44-BDD6-4D6400B4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445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57CF5C18-1E95-C243-B7C5-426CDD91A3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44676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BC76D2F1-C74C-EF4B-9B5B-7D1F8910A3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9420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5D1C027F-D3CE-1444-A4AF-8739131D3E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36075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89B41A96-1EB0-A843-B5A7-A41BEAF80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65156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E74B7E68-2061-E14E-AE23-DDBD7DD33D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94238" y="2852936"/>
            <a:ext cx="1198539" cy="29883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.Nunc</a:t>
            </a:r>
            <a:r>
              <a:rPr lang="fr-FR" sz="831"/>
              <a:t> </a:t>
            </a:r>
            <a:r>
              <a:rPr lang="fr-FR" sz="831" err="1"/>
              <a:t>viverra</a:t>
            </a:r>
            <a:endParaRPr lang="fr-FR" sz="831"/>
          </a:p>
        </p:txBody>
      </p:sp>
      <p:pic>
        <p:nvPicPr>
          <p:cNvPr id="16" name="Graphique 15">
            <a:extLst>
              <a:ext uri="{FF2B5EF4-FFF2-40B4-BE49-F238E27FC236}">
                <a16:creationId xmlns:a16="http://schemas.microsoft.com/office/drawing/2014/main" id="{00AEB744-AD2A-8348-9DE7-6376E2D901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010177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locs 3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>
            <a:extLst>
              <a:ext uri="{FF2B5EF4-FFF2-40B4-BE49-F238E27FC236}">
                <a16:creationId xmlns:a16="http://schemas.microsoft.com/office/drawing/2014/main" id="{6195ED57-034D-804E-8062-A1BB1B4357BD}"/>
              </a:ext>
            </a:extLst>
          </p:cNvPr>
          <p:cNvSpPr/>
          <p:nvPr/>
        </p:nvSpPr>
        <p:spPr>
          <a:xfrm>
            <a:off x="251521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D96AC5-ACB1-5343-B150-97A7A65B8C7F}"/>
              </a:ext>
            </a:extLst>
          </p:cNvPr>
          <p:cNvSpPr/>
          <p:nvPr/>
        </p:nvSpPr>
        <p:spPr>
          <a:xfrm>
            <a:off x="3008002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BC82BB8-C31D-474E-9BC2-CCA7CC3CA0EB}"/>
              </a:ext>
            </a:extLst>
          </p:cNvPr>
          <p:cNvSpPr/>
          <p:nvPr/>
        </p:nvSpPr>
        <p:spPr>
          <a:xfrm>
            <a:off x="5734969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1577CC0-21BC-EE47-9EE3-83D8837E2868}"/>
              </a:ext>
            </a:extLst>
          </p:cNvPr>
          <p:cNvSpPr/>
          <p:nvPr/>
        </p:nvSpPr>
        <p:spPr>
          <a:xfrm>
            <a:off x="251521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56DAB77-BE19-DC49-8F90-4AFD6F720FD1}"/>
              </a:ext>
            </a:extLst>
          </p:cNvPr>
          <p:cNvSpPr/>
          <p:nvPr/>
        </p:nvSpPr>
        <p:spPr>
          <a:xfrm>
            <a:off x="3008002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0A3DDDF-952A-0846-B4D6-EE383794216A}"/>
              </a:ext>
            </a:extLst>
          </p:cNvPr>
          <p:cNvSpPr/>
          <p:nvPr/>
        </p:nvSpPr>
        <p:spPr>
          <a:xfrm>
            <a:off x="5734969" y="406160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662C264B-5100-A94D-91E8-1B41B17087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741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2391E2D5-831D-CD45-8FC2-83B5250658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23585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1C4A0AF5-2632-5543-863D-5C22F7895F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55829" y="1844825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6" name="Espace réservé du texte 2">
            <a:extLst>
              <a:ext uri="{FF2B5EF4-FFF2-40B4-BE49-F238E27FC236}">
                <a16:creationId xmlns:a16="http://schemas.microsoft.com/office/drawing/2014/main" id="{F61C2B9A-4D71-254E-BA77-756EC7FF98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5741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7" name="Espace réservé du texte 2">
            <a:extLst>
              <a:ext uri="{FF2B5EF4-FFF2-40B4-BE49-F238E27FC236}">
                <a16:creationId xmlns:a16="http://schemas.microsoft.com/office/drawing/2014/main" id="{A4C1D545-649F-504B-9FD2-4ED1D012B6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3585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BD27275D-5F22-AE45-ABD0-CED52D06BFA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55829" y="4447348"/>
            <a:ext cx="2071962" cy="1838057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798A602A-55CF-284D-A4C2-5D26F6293B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5378" y="1483406"/>
            <a:ext cx="2071962" cy="207287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ULTANCY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0C7BF7F5-E80F-4948-B034-F8EE8DA906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0604" y="1483406"/>
            <a:ext cx="2071962" cy="207287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&amp; ACCOUNT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16334BA2-8B93-5247-A8F3-E9CDB36152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55829" y="1483405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PHIC DESIGN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4ACC63D6-B64C-D54B-89B7-105CF12845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55829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T MANAGEMENT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CB40137D-D7D7-AD47-B603-C1DC59629D5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30011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TIVATION</a:t>
            </a:r>
          </a:p>
        </p:txBody>
      </p:sp>
      <p:sp>
        <p:nvSpPr>
          <p:cNvPr id="44" name="Espace réservé du texte 9">
            <a:extLst>
              <a:ext uri="{FF2B5EF4-FFF2-40B4-BE49-F238E27FC236}">
                <a16:creationId xmlns:a16="http://schemas.microsoft.com/office/drawing/2014/main" id="{84CBD0E7-FF34-B643-B4AA-FC15740514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86565" y="4147098"/>
            <a:ext cx="2071962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C731E4-001F-6D46-A0CB-AA8854A4462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21" name="Titre 1">
            <a:extLst>
              <a:ext uri="{FF2B5EF4-FFF2-40B4-BE49-F238E27FC236}">
                <a16:creationId xmlns:a16="http://schemas.microsoft.com/office/drawing/2014/main" id="{273383CC-CD49-FA40-AF4F-ABE957922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31282"/>
            <a:ext cx="7772400" cy="361414"/>
          </a:xfrm>
        </p:spPr>
        <p:txBody>
          <a:bodyPr anchor="ctr"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endParaRPr lang="fr-FR"/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965860D0-F6A1-8540-BC28-FC2755C49B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192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blocs 2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351972"/>
            <a:ext cx="7772400" cy="628756"/>
          </a:xfrm>
        </p:spPr>
        <p:txBody>
          <a:bodyPr/>
          <a:lstStyle>
            <a:lvl1pPr>
              <a:defRPr b="0"/>
            </a:lvl1pPr>
          </a:lstStyle>
          <a:p>
            <a:r>
              <a:rPr lang="fr-FR" err="1"/>
              <a:t>Quibus</a:t>
            </a:r>
            <a:r>
              <a:rPr lang="fr-FR"/>
              <a:t> </a:t>
            </a:r>
            <a:r>
              <a:rPr lang="fr-FR" err="1"/>
              <a:t>occurrere</a:t>
            </a:r>
            <a:r>
              <a:rPr lang="fr-FR"/>
              <a:t> bene </a:t>
            </a:r>
            <a:r>
              <a:rPr lang="fr-FR" err="1"/>
              <a:t>pertinax</a:t>
            </a:r>
            <a:r>
              <a:rPr lang="fr-FR"/>
              <a:t> miles </a:t>
            </a:r>
            <a:r>
              <a:rPr lang="fr-FR" err="1"/>
              <a:t>explicatis</a:t>
            </a:r>
            <a:r>
              <a:rPr lang="fr-FR"/>
              <a:t> </a:t>
            </a:r>
            <a:r>
              <a:rPr lang="fr-FR" err="1"/>
              <a:t>ordinibus</a:t>
            </a:r>
            <a:r>
              <a:rPr lang="fr-FR"/>
              <a:t> </a:t>
            </a:r>
            <a:r>
              <a:rPr lang="fr-FR" err="1"/>
              <a:t>parans</a:t>
            </a:r>
            <a:r>
              <a:rPr lang="fr-FR"/>
              <a:t> </a:t>
            </a:r>
            <a:r>
              <a:rPr lang="fr-FR" err="1"/>
              <a:t>hastisque</a:t>
            </a:r>
            <a:r>
              <a:rPr lang="fr-FR"/>
              <a:t> </a:t>
            </a:r>
            <a:r>
              <a:rPr lang="fr-FR" err="1"/>
              <a:t>feriens</a:t>
            </a:r>
            <a:r>
              <a:rPr lang="fr-FR"/>
              <a:t> scuta qui habitus </a:t>
            </a:r>
            <a:r>
              <a:rPr lang="fr-FR" err="1"/>
              <a:t>iram</a:t>
            </a:r>
            <a:r>
              <a:rPr lang="fr-FR"/>
              <a:t> </a:t>
            </a:r>
            <a:r>
              <a:rPr lang="fr-FR" err="1"/>
              <a:t>pugnantium</a:t>
            </a:r>
            <a:r>
              <a:rPr lang="fr-FR"/>
              <a:t> </a:t>
            </a:r>
            <a:r>
              <a:rPr lang="fr-FR" err="1"/>
              <a:t>concitat</a:t>
            </a:r>
            <a:endParaRPr lang="fr-FR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6195ED57-034D-804E-8062-A1BB1B4357BD}"/>
              </a:ext>
            </a:extLst>
          </p:cNvPr>
          <p:cNvSpPr/>
          <p:nvPr/>
        </p:nvSpPr>
        <p:spPr>
          <a:xfrm>
            <a:off x="251521" y="1405845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CD96AC5-ACB1-5343-B150-97A7A65B8C7F}"/>
              </a:ext>
            </a:extLst>
          </p:cNvPr>
          <p:cNvSpPr/>
          <p:nvPr/>
        </p:nvSpPr>
        <p:spPr>
          <a:xfrm>
            <a:off x="251521" y="2971267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BC82BB8-C31D-474E-9BC2-CCA7CC3CA0EB}"/>
              </a:ext>
            </a:extLst>
          </p:cNvPr>
          <p:cNvSpPr/>
          <p:nvPr/>
        </p:nvSpPr>
        <p:spPr>
          <a:xfrm>
            <a:off x="251521" y="4612164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1577CC0-21BC-EE47-9EE3-83D8837E2868}"/>
              </a:ext>
            </a:extLst>
          </p:cNvPr>
          <p:cNvSpPr/>
          <p:nvPr/>
        </p:nvSpPr>
        <p:spPr>
          <a:xfrm>
            <a:off x="4442058" y="1440463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E56DAB77-BE19-DC49-8F90-4AFD6F720FD1}"/>
              </a:ext>
            </a:extLst>
          </p:cNvPr>
          <p:cNvSpPr/>
          <p:nvPr/>
        </p:nvSpPr>
        <p:spPr>
          <a:xfrm>
            <a:off x="4460913" y="2961542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30A3DDDF-952A-0846-B4D6-EE383794216A}"/>
              </a:ext>
            </a:extLst>
          </p:cNvPr>
          <p:cNvSpPr/>
          <p:nvPr/>
        </p:nvSpPr>
        <p:spPr>
          <a:xfrm>
            <a:off x="4471572" y="4582179"/>
            <a:ext cx="367810" cy="3984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77" b="0" i="0">
                <a:latin typeface="Segoe UI Light" panose="020B0502040204020203" pitchFamily="34" charset="0"/>
                <a:cs typeface="Segoe UI Light" panose="020B0502040204020203" pitchFamily="34" charset="0"/>
              </a:rPr>
              <a:t>6</a:t>
            </a:r>
          </a:p>
        </p:txBody>
      </p:sp>
      <p:sp>
        <p:nvSpPr>
          <p:cNvPr id="31" name="Espace réservé du texte 2">
            <a:extLst>
              <a:ext uri="{FF2B5EF4-FFF2-40B4-BE49-F238E27FC236}">
                <a16:creationId xmlns:a16="http://schemas.microsoft.com/office/drawing/2014/main" id="{F96508CC-9CAC-D94E-9B76-8D5CE523DF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2078" y="1772816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2" name="Espace réservé du texte 2">
            <a:extLst>
              <a:ext uri="{FF2B5EF4-FFF2-40B4-BE49-F238E27FC236}">
                <a16:creationId xmlns:a16="http://schemas.microsoft.com/office/drawing/2014/main" id="{D26640EC-8478-AB44-8B36-EB897B24BD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2078" y="337528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3" name="Espace réservé du texte 2">
            <a:extLst>
              <a:ext uri="{FF2B5EF4-FFF2-40B4-BE49-F238E27FC236}">
                <a16:creationId xmlns:a16="http://schemas.microsoft.com/office/drawing/2014/main" id="{526FAAA4-17CE-A74B-9425-722C76FBA9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2078" y="499546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D07ECE29-D931-8C4F-B1AF-FCD697D883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02855" y="1772816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5" name="Espace réservé du texte 2">
            <a:extLst>
              <a:ext uri="{FF2B5EF4-FFF2-40B4-BE49-F238E27FC236}">
                <a16:creationId xmlns:a16="http://schemas.microsoft.com/office/drawing/2014/main" id="{271788DF-4067-5A40-B8A1-212DED716F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2855" y="337528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8" name="Espace réservé du texte 2">
            <a:extLst>
              <a:ext uri="{FF2B5EF4-FFF2-40B4-BE49-F238E27FC236}">
                <a16:creationId xmlns:a16="http://schemas.microsoft.com/office/drawing/2014/main" id="{9C62AD59-2B64-C442-90E1-4F567E08AF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02855" y="4995468"/>
            <a:ext cx="3158764" cy="116983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  <a:p>
            <a:pPr>
              <a:lnSpc>
                <a:spcPct val="120000"/>
              </a:lnSpc>
            </a:pPr>
            <a:r>
              <a:rPr lang="fr-FR" sz="831" err="1"/>
              <a:t>Lorem</a:t>
            </a:r>
            <a:r>
              <a:rPr lang="fr-FR" sz="831"/>
              <a:t> </a:t>
            </a:r>
            <a:r>
              <a:rPr lang="fr-FR" sz="831" err="1"/>
              <a:t>ipsum</a:t>
            </a:r>
            <a:r>
              <a:rPr lang="fr-FR" sz="831"/>
              <a:t> </a:t>
            </a:r>
            <a:r>
              <a:rPr lang="fr-FR" sz="831" err="1"/>
              <a:t>dolor</a:t>
            </a:r>
            <a:r>
              <a:rPr lang="fr-FR" sz="831"/>
              <a:t>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, </a:t>
            </a:r>
            <a:r>
              <a:rPr lang="fr-FR" sz="831" err="1"/>
              <a:t>consectetuer</a:t>
            </a:r>
            <a:r>
              <a:rPr lang="fr-FR" sz="831"/>
              <a:t> </a:t>
            </a:r>
            <a:r>
              <a:rPr lang="fr-FR" sz="831" err="1"/>
              <a:t>adipiscing</a:t>
            </a:r>
            <a:r>
              <a:rPr lang="fr-FR" sz="831"/>
              <a:t> </a:t>
            </a:r>
            <a:r>
              <a:rPr lang="fr-FR" sz="831" err="1"/>
              <a:t>elit</a:t>
            </a:r>
            <a:r>
              <a:rPr lang="fr-FR" sz="831"/>
              <a:t>. </a:t>
            </a:r>
            <a:r>
              <a:rPr lang="fr-FR" sz="831" err="1"/>
              <a:t>Maecenas</a:t>
            </a:r>
            <a:r>
              <a:rPr lang="fr-FR" sz="831"/>
              <a:t> </a:t>
            </a:r>
            <a:r>
              <a:rPr lang="fr-FR" sz="831" err="1"/>
              <a:t>porttitor</a:t>
            </a:r>
            <a:r>
              <a:rPr lang="fr-FR" sz="831"/>
              <a:t> </a:t>
            </a:r>
            <a:r>
              <a:rPr lang="fr-FR" sz="831" err="1"/>
              <a:t>congue</a:t>
            </a:r>
            <a:r>
              <a:rPr lang="fr-FR" sz="831"/>
              <a:t> massa. </a:t>
            </a:r>
            <a:r>
              <a:rPr lang="fr-FR" sz="831" err="1"/>
              <a:t>Fusce</a:t>
            </a:r>
            <a:r>
              <a:rPr lang="fr-FR" sz="831"/>
              <a:t> </a:t>
            </a:r>
            <a:r>
              <a:rPr lang="fr-FR" sz="831" err="1"/>
              <a:t>posuere</a:t>
            </a:r>
            <a:r>
              <a:rPr lang="fr-FR" sz="831"/>
              <a:t>, magna </a:t>
            </a:r>
            <a:r>
              <a:rPr lang="fr-FR" sz="831" err="1"/>
              <a:t>sed</a:t>
            </a:r>
            <a:r>
              <a:rPr lang="fr-FR" sz="831"/>
              <a:t> </a:t>
            </a:r>
            <a:r>
              <a:rPr lang="fr-FR" sz="831" err="1"/>
              <a:t>pulvinar</a:t>
            </a:r>
            <a:r>
              <a:rPr lang="fr-FR" sz="831"/>
              <a:t> </a:t>
            </a:r>
            <a:r>
              <a:rPr lang="fr-FR" sz="831" err="1"/>
              <a:t>ultricies</a:t>
            </a:r>
            <a:r>
              <a:rPr lang="fr-FR" sz="831"/>
              <a:t>, </a:t>
            </a:r>
            <a:r>
              <a:rPr lang="fr-FR" sz="831" err="1"/>
              <a:t>purus</a:t>
            </a:r>
            <a:r>
              <a:rPr lang="fr-FR" sz="831"/>
              <a:t> </a:t>
            </a:r>
            <a:r>
              <a:rPr lang="fr-FR" sz="831" err="1"/>
              <a:t>lectus</a:t>
            </a:r>
            <a:r>
              <a:rPr lang="fr-FR" sz="831"/>
              <a:t> </a:t>
            </a:r>
            <a:r>
              <a:rPr lang="fr-FR" sz="831" err="1"/>
              <a:t>malesuada</a:t>
            </a:r>
            <a:r>
              <a:rPr lang="fr-FR" sz="831"/>
              <a:t> libero, </a:t>
            </a:r>
            <a:r>
              <a:rPr lang="fr-FR" sz="831" err="1"/>
              <a:t>sit</a:t>
            </a:r>
            <a:r>
              <a:rPr lang="fr-FR" sz="831"/>
              <a:t> </a:t>
            </a:r>
            <a:r>
              <a:rPr lang="fr-FR" sz="831" err="1"/>
              <a:t>amet</a:t>
            </a:r>
            <a:r>
              <a:rPr lang="fr-FR" sz="831"/>
              <a:t> </a:t>
            </a:r>
            <a:r>
              <a:rPr lang="fr-FR" sz="831" err="1"/>
              <a:t>commodo</a:t>
            </a:r>
            <a:r>
              <a:rPr lang="fr-FR" sz="831"/>
              <a:t> magna </a:t>
            </a:r>
            <a:r>
              <a:rPr lang="fr-FR" sz="831" err="1"/>
              <a:t>eros</a:t>
            </a:r>
            <a:r>
              <a:rPr lang="fr-FR" sz="831"/>
              <a:t> </a:t>
            </a:r>
            <a:r>
              <a:rPr lang="fr-FR" sz="831" err="1"/>
              <a:t>quis</a:t>
            </a:r>
            <a:r>
              <a:rPr lang="fr-FR" sz="831"/>
              <a:t> </a:t>
            </a:r>
            <a:r>
              <a:rPr lang="fr-FR" sz="831" err="1"/>
              <a:t>urna</a:t>
            </a:r>
            <a:r>
              <a:rPr lang="fr-FR" sz="831"/>
              <a:t>.</a:t>
            </a:r>
          </a:p>
        </p:txBody>
      </p:sp>
      <p:sp>
        <p:nvSpPr>
          <p:cNvPr id="39" name="Espace réservé du texte 9">
            <a:extLst>
              <a:ext uri="{FF2B5EF4-FFF2-40B4-BE49-F238E27FC236}">
                <a16:creationId xmlns:a16="http://schemas.microsoft.com/office/drawing/2014/main" id="{92C4AE38-9F8E-F840-8BE0-745A1A3832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2078" y="1460692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ULTANCY</a:t>
            </a:r>
          </a:p>
        </p:txBody>
      </p:sp>
      <p:sp>
        <p:nvSpPr>
          <p:cNvPr id="40" name="Espace réservé du texte 9">
            <a:extLst>
              <a:ext uri="{FF2B5EF4-FFF2-40B4-BE49-F238E27FC236}">
                <a16:creationId xmlns:a16="http://schemas.microsoft.com/office/drawing/2014/main" id="{108E3404-2EC7-A742-B40F-411A1F76781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2078" y="3067704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&amp; ACCOUNT</a:t>
            </a:r>
          </a:p>
        </p:txBody>
      </p:sp>
      <p:sp>
        <p:nvSpPr>
          <p:cNvPr id="41" name="Espace réservé du texte 9">
            <a:extLst>
              <a:ext uri="{FF2B5EF4-FFF2-40B4-BE49-F238E27FC236}">
                <a16:creationId xmlns:a16="http://schemas.microsoft.com/office/drawing/2014/main" id="{3CF296E7-525E-A740-9DC8-D82CED1C5F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2078" y="4690625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PHIC DESIGN</a:t>
            </a:r>
          </a:p>
        </p:txBody>
      </p:sp>
      <p:sp>
        <p:nvSpPr>
          <p:cNvPr id="42" name="Espace réservé du texte 9">
            <a:extLst>
              <a:ext uri="{FF2B5EF4-FFF2-40B4-BE49-F238E27FC236}">
                <a16:creationId xmlns:a16="http://schemas.microsoft.com/office/drawing/2014/main" id="{22EC26C0-3AAE-0E48-8708-E84A82F0849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02855" y="4690625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T MANAGEMENT</a:t>
            </a:r>
          </a:p>
        </p:txBody>
      </p:sp>
      <p:sp>
        <p:nvSpPr>
          <p:cNvPr id="43" name="Espace réservé du texte 9">
            <a:extLst>
              <a:ext uri="{FF2B5EF4-FFF2-40B4-BE49-F238E27FC236}">
                <a16:creationId xmlns:a16="http://schemas.microsoft.com/office/drawing/2014/main" id="{1A77401D-64E8-A543-A7AB-E78A144C59D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02855" y="3067704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TIVATION</a:t>
            </a:r>
          </a:p>
        </p:txBody>
      </p:sp>
      <p:sp>
        <p:nvSpPr>
          <p:cNvPr id="44" name="Espace réservé du texte 9">
            <a:extLst>
              <a:ext uri="{FF2B5EF4-FFF2-40B4-BE49-F238E27FC236}">
                <a16:creationId xmlns:a16="http://schemas.microsoft.com/office/drawing/2014/main" id="{0A108E76-117B-A146-94BD-48A85E6D5B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02855" y="1460692"/>
            <a:ext cx="3158764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D7AD1DB6-CF0C-924E-8965-AB3215A4C2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6105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otre équ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799" y="362835"/>
            <a:ext cx="7772400" cy="314746"/>
          </a:xfrm>
        </p:spPr>
        <p:txBody>
          <a:bodyPr/>
          <a:lstStyle>
            <a:lvl1pPr>
              <a:defRPr b="0"/>
            </a:lvl1pPr>
          </a:lstStyle>
          <a:p>
            <a:r>
              <a:rPr lang="fr-FR"/>
              <a:t>Notre équipe d’intervenant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864FFDA6-8BB0-EB43-8EB5-B85B84EE95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2085" y="1716975"/>
            <a:ext cx="7276114" cy="694276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Cliquez pour modifier les styles du texte du masque</a:t>
            </a:r>
          </a:p>
          <a:p>
            <a:pPr lvl="1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Deuxième niveau</a:t>
            </a:r>
          </a:p>
          <a:p>
            <a:pPr lvl="2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Troisième niveau</a:t>
            </a:r>
          </a:p>
          <a:p>
            <a:pPr lvl="3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Quatrième niveau</a:t>
            </a:r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21BCBE88-0FE3-344D-9CDA-610088F8504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4624" y="1241416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46326B1A-395B-9048-8ED9-7B709837D1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248554" y="3565241"/>
            <a:ext cx="7276114" cy="709720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>
              <a:lnSpc>
                <a:spcPct val="120000"/>
              </a:lnSpc>
            </a:pPr>
            <a:r>
              <a:rPr lang="fr-FR" sz="831">
                <a:solidFill>
                  <a:schemeClr val="tx1">
                    <a:lumMod val="75000"/>
                  </a:schemeClr>
                </a:solidFill>
              </a:rPr>
              <a:t>Cliquez pour modifier les styles du texte du masque</a:t>
            </a:r>
          </a:p>
        </p:txBody>
      </p:sp>
      <p:sp>
        <p:nvSpPr>
          <p:cNvPr id="26" name="Espace réservé pour une image  5">
            <a:extLst>
              <a:ext uri="{FF2B5EF4-FFF2-40B4-BE49-F238E27FC236}">
                <a16:creationId xmlns:a16="http://schemas.microsoft.com/office/drawing/2014/main" id="{806FEEDE-992D-CE4D-918F-92CFB6F32B8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54623" y="3104965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7" name="Espace réservé du texte 9">
            <a:extLst>
              <a:ext uri="{FF2B5EF4-FFF2-40B4-BE49-F238E27FC236}">
                <a16:creationId xmlns:a16="http://schemas.microsoft.com/office/drawing/2014/main" id="{D221A175-261D-E342-AA16-6A23C47FF2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623" y="2788056"/>
            <a:ext cx="8170046" cy="218006"/>
          </a:xfrm>
        </p:spPr>
        <p:txBody>
          <a:bodyPr>
            <a:normAutofit/>
          </a:bodyPr>
          <a:lstStyle>
            <a:lvl1pPr marL="0" indent="0" algn="ctr">
              <a:buNone/>
              <a:defRPr sz="1477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 lvl="0"/>
            <a:r>
              <a:rPr lang="en-US" sz="1108" b="0" i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ÉQUIPE COEUR</a:t>
            </a:r>
          </a:p>
        </p:txBody>
      </p:sp>
      <p:sp>
        <p:nvSpPr>
          <p:cNvPr id="28" name="Espace réservé pour une image  5">
            <a:extLst>
              <a:ext uri="{FF2B5EF4-FFF2-40B4-BE49-F238E27FC236}">
                <a16:creationId xmlns:a16="http://schemas.microsoft.com/office/drawing/2014/main" id="{396EFCED-CC81-CC4C-81FA-7084ADC8EB0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51786" y="4921667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Espace réservé pour une image  5">
            <a:extLst>
              <a:ext uri="{FF2B5EF4-FFF2-40B4-BE49-F238E27FC236}">
                <a16:creationId xmlns:a16="http://schemas.microsoft.com/office/drawing/2014/main" id="{C738B4D2-D6C2-6F42-8AFC-4218B96C542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4127" y="4931905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0" name="Espace réservé pour une image  5">
            <a:extLst>
              <a:ext uri="{FF2B5EF4-FFF2-40B4-BE49-F238E27FC236}">
                <a16:creationId xmlns:a16="http://schemas.microsoft.com/office/drawing/2014/main" id="{CE6C50C2-FFB5-6A4E-98B3-A01811853E5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55388" y="4848979"/>
            <a:ext cx="794238" cy="1169997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6" name="Espace réservé du texte 19">
            <a:extLst>
              <a:ext uri="{FF2B5EF4-FFF2-40B4-BE49-F238E27FC236}">
                <a16:creationId xmlns:a16="http://schemas.microsoft.com/office/drawing/2014/main" id="{5B188B30-C8D5-5643-AE09-6199F8EA8E7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82085" y="1241416"/>
            <a:ext cx="1280579" cy="252411"/>
          </a:xfrm>
        </p:spPr>
        <p:txBody>
          <a:bodyPr>
            <a:no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ASSOCIE: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Espace réservé du texte 19">
            <a:extLst>
              <a:ext uri="{FF2B5EF4-FFF2-40B4-BE49-F238E27FC236}">
                <a16:creationId xmlns:a16="http://schemas.microsoft.com/office/drawing/2014/main" id="{82F96A94-7781-134F-8987-FA7F0B1B686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221402" y="4921667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Arts et Métier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Espace réservé du texte 19">
            <a:extLst>
              <a:ext uri="{FF2B5EF4-FFF2-40B4-BE49-F238E27FC236}">
                <a16:creationId xmlns:a16="http://schemas.microsoft.com/office/drawing/2014/main" id="{757B0E79-48BC-8146-B981-627450C993C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252914" y="3114977"/>
            <a:ext cx="1691791" cy="252411"/>
          </a:xfrm>
        </p:spPr>
        <p:txBody>
          <a:bodyPr>
            <a:no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MANAGER: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Espace réservé du texte 19">
            <a:extLst>
              <a:ext uri="{FF2B5EF4-FFF2-40B4-BE49-F238E27FC236}">
                <a16:creationId xmlns:a16="http://schemas.microsoft.com/office/drawing/2014/main" id="{1780E8FB-3D20-C14F-A4FA-A1F1F98AAB7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22109" y="4941209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</a:t>
            </a:r>
            <a:r>
              <a:rPr lang="fr-FR" sz="831" b="0" i="0" err="1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pméca</a:t>
            </a: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ari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Espace réservé du texte 19">
            <a:extLst>
              <a:ext uri="{FF2B5EF4-FFF2-40B4-BE49-F238E27FC236}">
                <a16:creationId xmlns:a16="http://schemas.microsoft.com/office/drawing/2014/main" id="{95E15856-F01B-FF4E-9482-01CF4FF1B7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319405" y="4848979"/>
            <a:ext cx="1754815" cy="629855"/>
          </a:xfrm>
        </p:spPr>
        <p:txBody>
          <a:bodyPr>
            <a:noAutofit/>
          </a:bodyPr>
          <a:lstStyle>
            <a:lvl1pPr marL="0" marR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 sz="831"/>
            </a:lvl2pPr>
            <a:lvl3pPr>
              <a:defRPr sz="831"/>
            </a:lvl3pPr>
            <a:lvl4pPr>
              <a:defRPr sz="831"/>
            </a:lvl4pPr>
            <a:lvl5pPr>
              <a:defRPr sz="831"/>
            </a:lvl5pPr>
          </a:lstStyle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Prénom NOM, </a:t>
            </a:r>
          </a:p>
          <a:p>
            <a:r>
              <a:rPr lang="fr-FR" sz="831" b="0" i="0">
                <a:latin typeface="Segoe UI" panose="020B0502040204020203" pitchFamily="34" charset="0"/>
                <a:cs typeface="Segoe UI" panose="020B0502040204020203" pitchFamily="34" charset="0"/>
              </a:rPr>
              <a:t>SENIOR INGÉNIEUR</a:t>
            </a:r>
            <a:endParaRPr lang="fr-FR" sz="831" b="1" i="0">
              <a:solidFill>
                <a:srgbClr val="0070C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0" marR="0" lvl="0" indent="0" algn="l" defTabSz="9144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sz="831" b="0" i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Centrale Nantes)</a:t>
            </a:r>
            <a:endParaRPr lang="fr-FR" sz="831" b="0">
              <a:solidFill>
                <a:schemeClr val="tx1">
                  <a:lumMod val="75000"/>
                </a:schemeClr>
              </a:solidFill>
            </a:endParaRPr>
          </a:p>
          <a:p>
            <a:endParaRPr lang="fr-FR" sz="831" b="0" i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" name="Graphique 17">
            <a:extLst>
              <a:ext uri="{FF2B5EF4-FFF2-40B4-BE49-F238E27FC236}">
                <a16:creationId xmlns:a16="http://schemas.microsoft.com/office/drawing/2014/main" id="{5B918CC6-40D2-EE43-9B53-8CB0D9202C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28C8CDC1-6BB8-5B44-8875-B6C78569459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434460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redent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>
            <a:extLst>
              <a:ext uri="{FF2B5EF4-FFF2-40B4-BE49-F238E27FC236}">
                <a16:creationId xmlns:a16="http://schemas.microsoft.com/office/drawing/2014/main" id="{B03CF866-A79A-5740-AA88-3B983A3E4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9033" y="333083"/>
            <a:ext cx="7772400" cy="347382"/>
          </a:xfrm>
          <a:ln>
            <a:noFill/>
          </a:ln>
        </p:spPr>
        <p:txBody>
          <a:bodyPr anchor="ctr"/>
          <a:lstStyle>
            <a:lvl1pPr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fr-FR"/>
              <a:t>Our </a:t>
            </a:r>
            <a:r>
              <a:rPr lang="fr-FR" err="1"/>
              <a:t>credentials</a:t>
            </a:r>
            <a:r>
              <a:rPr lang="fr-FR"/>
              <a:t> in </a:t>
            </a:r>
            <a:r>
              <a:rPr lang="fr-FR" err="1"/>
              <a:t>managing</a:t>
            </a:r>
            <a:r>
              <a:rPr lang="fr-FR"/>
              <a:t> major </a:t>
            </a:r>
            <a:r>
              <a:rPr lang="fr-FR" err="1"/>
              <a:t>organizational</a:t>
            </a:r>
            <a:r>
              <a:rPr lang="fr-FR"/>
              <a:t> shift</a:t>
            </a:r>
          </a:p>
        </p:txBody>
      </p:sp>
      <p:sp>
        <p:nvSpPr>
          <p:cNvPr id="24" name="Espace réservé du texte 13">
            <a:extLst>
              <a:ext uri="{FF2B5EF4-FFF2-40B4-BE49-F238E27FC236}">
                <a16:creationId xmlns:a16="http://schemas.microsoft.com/office/drawing/2014/main" id="{96A8C027-DBDF-AF45-8EDC-F9AA2E2D89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6291" y="1617024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5" name="Espace réservé du texte 13">
            <a:extLst>
              <a:ext uri="{FF2B5EF4-FFF2-40B4-BE49-F238E27FC236}">
                <a16:creationId xmlns:a16="http://schemas.microsoft.com/office/drawing/2014/main" id="{DDC088B1-B2AB-0442-8996-7072124DC3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8191" y="2027128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6" name="Espace réservé du texte 13">
            <a:extLst>
              <a:ext uri="{FF2B5EF4-FFF2-40B4-BE49-F238E27FC236}">
                <a16:creationId xmlns:a16="http://schemas.microsoft.com/office/drawing/2014/main" id="{02A038B4-1B64-9E47-A762-1628BA45ED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5787" y="2834499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27" name="Espace réservé du texte 13">
            <a:extLst>
              <a:ext uri="{FF2B5EF4-FFF2-40B4-BE49-F238E27FC236}">
                <a16:creationId xmlns:a16="http://schemas.microsoft.com/office/drawing/2014/main" id="{A0EFC97A-E2BC-A141-8527-E7F57F6760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3982" y="3226917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1" name="Espace réservé du texte 13">
            <a:extLst>
              <a:ext uri="{FF2B5EF4-FFF2-40B4-BE49-F238E27FC236}">
                <a16:creationId xmlns:a16="http://schemas.microsoft.com/office/drawing/2014/main" id="{A3EB6E0A-F8EC-8646-A94D-EC852183298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080" y="389705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3" name="Espace réservé du texte 13">
            <a:extLst>
              <a:ext uri="{FF2B5EF4-FFF2-40B4-BE49-F238E27FC236}">
                <a16:creationId xmlns:a16="http://schemas.microsoft.com/office/drawing/2014/main" id="{D06C11B3-60F2-3346-98A0-2890EEB0B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080" y="473751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5" name="Espace réservé du texte 13">
            <a:extLst>
              <a:ext uri="{FF2B5EF4-FFF2-40B4-BE49-F238E27FC236}">
                <a16:creationId xmlns:a16="http://schemas.microsoft.com/office/drawing/2014/main" id="{7A0E3223-17D2-3E46-BA7B-EE9BA1293F6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9167" y="5534112"/>
            <a:ext cx="2000333" cy="25241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31">
                <a:solidFill>
                  <a:srgbClr val="0070C0"/>
                </a:solidFill>
              </a:defRPr>
            </a:lvl1pPr>
            <a:lvl2pPr marL="171454" indent="0">
              <a:buFontTx/>
              <a:buNone/>
              <a:defRPr sz="923">
                <a:solidFill>
                  <a:srgbClr val="0070C0"/>
                </a:solidFill>
              </a:defRPr>
            </a:lvl2pPr>
            <a:lvl3pPr marL="344496" indent="0">
              <a:buFontTx/>
              <a:buNone/>
              <a:defRPr sz="923">
                <a:solidFill>
                  <a:srgbClr val="0070C0"/>
                </a:solidFill>
              </a:defRPr>
            </a:lvl3pPr>
            <a:lvl4pPr marL="515949" indent="0">
              <a:buFontTx/>
              <a:buNone/>
              <a:defRPr sz="923">
                <a:solidFill>
                  <a:srgbClr val="0070C0"/>
                </a:solidFill>
              </a:defRPr>
            </a:lvl4pPr>
            <a:lvl5pPr marL="687405" indent="0">
              <a:buFontTx/>
              <a:buNone/>
              <a:defRPr sz="923">
                <a:solidFill>
                  <a:srgbClr val="0070C0"/>
                </a:solidFill>
              </a:defRPr>
            </a:lvl5pPr>
          </a:lstStyle>
          <a:p>
            <a:pPr lvl="0">
              <a:lnSpc>
                <a:spcPct val="120000"/>
              </a:lnSpc>
            </a:pPr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37" name="Espace réservé du texte 9">
            <a:extLst>
              <a:ext uri="{FF2B5EF4-FFF2-40B4-BE49-F238E27FC236}">
                <a16:creationId xmlns:a16="http://schemas.microsoft.com/office/drawing/2014/main" id="{214413A7-A008-294C-A925-6007D53C3D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787" y="1199098"/>
            <a:ext cx="2000333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>
              <a:lnSpc>
                <a:spcPct val="120000"/>
              </a:lnSpc>
            </a:pPr>
            <a:r>
              <a:rPr lang="fr-FR" sz="1108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PANY</a:t>
            </a:r>
          </a:p>
        </p:txBody>
      </p:sp>
      <p:sp>
        <p:nvSpPr>
          <p:cNvPr id="38" name="Espace réservé du texte 9">
            <a:extLst>
              <a:ext uri="{FF2B5EF4-FFF2-40B4-BE49-F238E27FC236}">
                <a16:creationId xmlns:a16="http://schemas.microsoft.com/office/drawing/2014/main" id="{88C8CA68-F69E-E14D-A0D9-378FCD9E72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12957" y="1218234"/>
            <a:ext cx="2000333" cy="218006"/>
          </a:xfrm>
        </p:spPr>
        <p:txBody>
          <a:bodyPr>
            <a:normAutofit/>
          </a:bodyPr>
          <a:lstStyle>
            <a:lvl1pPr marL="0" indent="0">
              <a:buNone/>
              <a:defRPr sz="1108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 marL="171454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2pPr>
            <a:lvl3pPr marL="344496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3pPr>
            <a:lvl4pPr marL="515949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4pPr>
            <a:lvl5pPr marL="687405" indent="0">
              <a:buNone/>
              <a:defRPr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5pPr>
          </a:lstStyle>
          <a:p>
            <a:pPr>
              <a:lnSpc>
                <a:spcPct val="120000"/>
              </a:lnSpc>
            </a:pPr>
            <a:r>
              <a:rPr lang="fr-FR" sz="1108" b="0" i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SIGNMENT</a:t>
            </a:r>
          </a:p>
        </p:txBody>
      </p:sp>
      <p:sp>
        <p:nvSpPr>
          <p:cNvPr id="39" name="Espace réservé du texte 2">
            <a:extLst>
              <a:ext uri="{FF2B5EF4-FFF2-40B4-BE49-F238E27FC236}">
                <a16:creationId xmlns:a16="http://schemas.microsoft.com/office/drawing/2014/main" id="{D2CD39D7-5ECB-F645-8460-FDC18F7033E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21394" y="1617024"/>
            <a:ext cx="5944839" cy="323832"/>
          </a:xfrm>
        </p:spPr>
        <p:txBody>
          <a:bodyPr>
            <a:normAutofit/>
          </a:bodyPr>
          <a:lstStyle>
            <a:lvl1pPr marL="0" indent="0"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  <a:p>
            <a:pPr lvl="1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uxième niveau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E6EAAB33-846F-764C-839C-924D28A1509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21394" y="2027129"/>
            <a:ext cx="5944839" cy="72067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1" name="Espace réservé du texte 2">
            <a:extLst>
              <a:ext uri="{FF2B5EF4-FFF2-40B4-BE49-F238E27FC236}">
                <a16:creationId xmlns:a16="http://schemas.microsoft.com/office/drawing/2014/main" id="{ACF3FFD9-C7DF-0E4F-83A4-94722E9B3C5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521394" y="2834499"/>
            <a:ext cx="5944839" cy="283696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2" name="Espace réservé du texte 2">
            <a:extLst>
              <a:ext uri="{FF2B5EF4-FFF2-40B4-BE49-F238E27FC236}">
                <a16:creationId xmlns:a16="http://schemas.microsoft.com/office/drawing/2014/main" id="{175AEE5F-9FCB-9642-B78A-B441A1FCA4E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21394" y="3226917"/>
            <a:ext cx="5944839" cy="59440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chemeClr val="tx1">
                  <a:lumMod val="50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91724ADA-78A3-D34C-A990-80C57A22F1A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521394" y="3897053"/>
            <a:ext cx="5944839" cy="6994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4FEE905C-078F-4143-B1FA-F4C0F84FF77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11463" y="4737513"/>
            <a:ext cx="5944839" cy="6994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sp>
        <p:nvSpPr>
          <p:cNvPr id="46" name="Espace réservé du texte 2">
            <a:extLst>
              <a:ext uri="{FF2B5EF4-FFF2-40B4-BE49-F238E27FC236}">
                <a16:creationId xmlns:a16="http://schemas.microsoft.com/office/drawing/2014/main" id="{8E7BA8A4-497A-B346-957D-AF0EB2C9A2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10369" y="5534112"/>
            <a:ext cx="5944839" cy="59518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None/>
              <a:defRPr sz="831" b="0" i="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sz="831" b="0" i="0">
                <a:solidFill>
                  <a:srgbClr val="2D69A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liquez pour modifier les styles du texte du masque</a:t>
            </a:r>
          </a:p>
        </p:txBody>
      </p:sp>
      <p:pic>
        <p:nvPicPr>
          <p:cNvPr id="20" name="Graphique 19">
            <a:extLst>
              <a:ext uri="{FF2B5EF4-FFF2-40B4-BE49-F238E27FC236}">
                <a16:creationId xmlns:a16="http://schemas.microsoft.com/office/drawing/2014/main" id="{2FC9DD98-0381-934A-A9E7-12E171788C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9AB3AC1-B3F7-CA48-9399-6ACAEBF85B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0224645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283102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6F606EC-E71D-4DE7-8189-E0E12E53C37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3774373" y="-11430"/>
            <a:ext cx="5369627" cy="6869430"/>
          </a:xfrm>
          <a:custGeom>
            <a:avLst/>
            <a:gdLst>
              <a:gd name="connsiteX0" fmla="*/ 4560570 w 7155180"/>
              <a:gd name="connsiteY0" fmla="*/ 0 h 6880860"/>
              <a:gd name="connsiteX1" fmla="*/ 7155180 w 7155180"/>
              <a:gd name="connsiteY1" fmla="*/ 6880860 h 6880860"/>
              <a:gd name="connsiteX2" fmla="*/ 0 w 7155180"/>
              <a:gd name="connsiteY2" fmla="*/ 6869430 h 6880860"/>
              <a:gd name="connsiteX3" fmla="*/ 0 w 7155180"/>
              <a:gd name="connsiteY3" fmla="*/ 11430 h 6880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5180" h="6880860">
                <a:moveTo>
                  <a:pt x="4560570" y="0"/>
                </a:moveTo>
                <a:lnTo>
                  <a:pt x="7155180" y="6880860"/>
                </a:lnTo>
                <a:lnTo>
                  <a:pt x="0" y="6869430"/>
                </a:lnTo>
                <a:lnTo>
                  <a:pt x="0" y="114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9297184-CA0B-CF43-B975-F6A3FE634E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4584124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351E436-F6B3-DF4B-B106-DB94F8F80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4617358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87E134F-66E9-654A-B1FF-C2C536030585}"/>
              </a:ext>
            </a:extLst>
          </p:cNvPr>
          <p:cNvSpPr/>
          <p:nvPr/>
        </p:nvSpPr>
        <p:spPr>
          <a:xfrm>
            <a:off x="151817" y="6201308"/>
            <a:ext cx="598220" cy="5760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62" b="0" i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435391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s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ADED4126-C3FB-4228-97BE-05DDB013385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619632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7" name="Picture Placeholder 46">
            <a:extLst>
              <a:ext uri="{FF2B5EF4-FFF2-40B4-BE49-F238E27FC236}">
                <a16:creationId xmlns:a16="http://schemas.microsoft.com/office/drawing/2014/main" id="{8C575F5B-47F4-43B4-8AEB-2C42B3AFFE5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39189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8" name="Picture Placeholder 47">
            <a:extLst>
              <a:ext uri="{FF2B5EF4-FFF2-40B4-BE49-F238E27FC236}">
                <a16:creationId xmlns:a16="http://schemas.microsoft.com/office/drawing/2014/main" id="{71C85F41-E610-4A01-A3BB-97AFA751CA2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658744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CA4950EE-8961-4BD5-BD35-95E34189F01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00075" y="3789040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7AB1CF83-5012-4FCA-8355-CACD6BDB102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619632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DA705D39-1F6E-461A-9C0B-1B74EA88E5C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639189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5" name="Picture Placeholder 44">
            <a:extLst>
              <a:ext uri="{FF2B5EF4-FFF2-40B4-BE49-F238E27FC236}">
                <a16:creationId xmlns:a16="http://schemas.microsoft.com/office/drawing/2014/main" id="{D40A2BFA-FA23-4DB9-A4D1-00FD102CE6E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658744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48D6C942-265D-41F7-8402-B78250CD59C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0075" y="1747469"/>
            <a:ext cx="1885182" cy="1858978"/>
          </a:xfrm>
          <a:custGeom>
            <a:avLst/>
            <a:gdLst>
              <a:gd name="connsiteX0" fmla="*/ 0 w 2513575"/>
              <a:gd name="connsiteY0" fmla="*/ 0 h 1858978"/>
              <a:gd name="connsiteX1" fmla="*/ 2513575 w 2513575"/>
              <a:gd name="connsiteY1" fmla="*/ 0 h 1858978"/>
              <a:gd name="connsiteX2" fmla="*/ 2513575 w 2513575"/>
              <a:gd name="connsiteY2" fmla="*/ 1858978 h 1858978"/>
              <a:gd name="connsiteX3" fmla="*/ 0 w 2513575"/>
              <a:gd name="connsiteY3" fmla="*/ 1858978 h 1858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13575" h="1858978">
                <a:moveTo>
                  <a:pt x="0" y="0"/>
                </a:moveTo>
                <a:lnTo>
                  <a:pt x="2513575" y="0"/>
                </a:lnTo>
                <a:lnTo>
                  <a:pt x="2513575" y="1858978"/>
                </a:lnTo>
                <a:lnTo>
                  <a:pt x="0" y="185897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26DADD1-11D8-7344-AB73-C218377EF0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11" name="Graphique 10">
            <a:extLst>
              <a:ext uri="{FF2B5EF4-FFF2-40B4-BE49-F238E27FC236}">
                <a16:creationId xmlns:a16="http://schemas.microsoft.com/office/drawing/2014/main" id="{66C6162E-9289-4848-8AAF-A36BA4C7FA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3C75CC7-9AD0-6D4E-9018-B723395BC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7634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EABAA97-BBF4-4E00-BAFD-36622F484FD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3964" y="1488249"/>
            <a:ext cx="3665269" cy="2145730"/>
          </a:xfrm>
          <a:custGeom>
            <a:avLst/>
            <a:gdLst>
              <a:gd name="connsiteX0" fmla="*/ 0 w 4887025"/>
              <a:gd name="connsiteY0" fmla="*/ 0 h 2145730"/>
              <a:gd name="connsiteX1" fmla="*/ 4887025 w 4887025"/>
              <a:gd name="connsiteY1" fmla="*/ 0 h 2145730"/>
              <a:gd name="connsiteX2" fmla="*/ 4887025 w 4887025"/>
              <a:gd name="connsiteY2" fmla="*/ 2145730 h 2145730"/>
              <a:gd name="connsiteX3" fmla="*/ 0 w 4887025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025" h="2145730">
                <a:moveTo>
                  <a:pt x="0" y="0"/>
                </a:moveTo>
                <a:lnTo>
                  <a:pt x="4887025" y="0"/>
                </a:lnTo>
                <a:lnTo>
                  <a:pt x="4887025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4277ECAD-C044-40C9-8E2C-E49BC76AC60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664770" y="1488248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53108A3-63E7-45B1-840D-C1244CC8C53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90172" y="1488247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4F9421AD-0756-485F-ACB9-6DC303DB292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3963" y="3861050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8E13A1C8-E6F6-4031-9585-0087F0F631C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739365" y="3861049"/>
            <a:ext cx="1739866" cy="2145730"/>
          </a:xfrm>
          <a:custGeom>
            <a:avLst/>
            <a:gdLst>
              <a:gd name="connsiteX0" fmla="*/ 0 w 2319822"/>
              <a:gd name="connsiteY0" fmla="*/ 0 h 2145730"/>
              <a:gd name="connsiteX1" fmla="*/ 2319822 w 2319822"/>
              <a:gd name="connsiteY1" fmla="*/ 0 h 2145730"/>
              <a:gd name="connsiteX2" fmla="*/ 2319822 w 2319822"/>
              <a:gd name="connsiteY2" fmla="*/ 2145730 h 2145730"/>
              <a:gd name="connsiteX3" fmla="*/ 0 w 2319822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9822" h="2145730">
                <a:moveTo>
                  <a:pt x="0" y="0"/>
                </a:moveTo>
                <a:lnTo>
                  <a:pt x="2319822" y="0"/>
                </a:lnTo>
                <a:lnTo>
                  <a:pt x="2319822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20D6C4B0-49C9-4599-B994-8B2758DC727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664766" y="3861048"/>
            <a:ext cx="3665271" cy="2145730"/>
          </a:xfrm>
          <a:custGeom>
            <a:avLst/>
            <a:gdLst>
              <a:gd name="connsiteX0" fmla="*/ 0 w 4887028"/>
              <a:gd name="connsiteY0" fmla="*/ 0 h 2145730"/>
              <a:gd name="connsiteX1" fmla="*/ 4887028 w 4887028"/>
              <a:gd name="connsiteY1" fmla="*/ 0 h 2145730"/>
              <a:gd name="connsiteX2" fmla="*/ 4887028 w 4887028"/>
              <a:gd name="connsiteY2" fmla="*/ 2145730 h 2145730"/>
              <a:gd name="connsiteX3" fmla="*/ 0 w 4887028"/>
              <a:gd name="connsiteY3" fmla="*/ 2145730 h 2145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87028" h="2145730">
                <a:moveTo>
                  <a:pt x="0" y="0"/>
                </a:moveTo>
                <a:lnTo>
                  <a:pt x="4887028" y="0"/>
                </a:lnTo>
                <a:lnTo>
                  <a:pt x="4887028" y="2145730"/>
                </a:lnTo>
                <a:lnTo>
                  <a:pt x="0" y="21457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B42F81C-5859-F145-9D59-2CB333F7E9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9" name="Graphique 8">
            <a:extLst>
              <a:ext uri="{FF2B5EF4-FFF2-40B4-BE49-F238E27FC236}">
                <a16:creationId xmlns:a16="http://schemas.microsoft.com/office/drawing/2014/main" id="{C5DBA548-1EE0-3B4D-926E-24DEAFCCE5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3D39B4B-A3A9-2249-BAA2-0090D48A7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49804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pic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4F69C54-690D-7749-AB37-BE76AA1C3AD9}"/>
              </a:ext>
            </a:extLst>
          </p:cNvPr>
          <p:cNvSpPr/>
          <p:nvPr/>
        </p:nvSpPr>
        <p:spPr>
          <a:xfrm>
            <a:off x="3242622" y="6309320"/>
            <a:ext cx="2625522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62" b="0" i="0">
                <a:latin typeface="Segoe UI Light" panose="020B0502040204020203" pitchFamily="34" charset="0"/>
              </a:rPr>
              <a:t>v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279E6F81-F76C-4418-A71F-948B5A1731D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181290" y="-2"/>
            <a:ext cx="1965770" cy="6858002"/>
          </a:xfrm>
          <a:custGeom>
            <a:avLst/>
            <a:gdLst>
              <a:gd name="connsiteX0" fmla="*/ 0 w 2621027"/>
              <a:gd name="connsiteY0" fmla="*/ 0 h 6858002"/>
              <a:gd name="connsiteX1" fmla="*/ 2621027 w 2621027"/>
              <a:gd name="connsiteY1" fmla="*/ 0 h 6858002"/>
              <a:gd name="connsiteX2" fmla="*/ 2621027 w 2621027"/>
              <a:gd name="connsiteY2" fmla="*/ 6858002 h 6858002"/>
              <a:gd name="connsiteX3" fmla="*/ 0 w 2621027"/>
              <a:gd name="connsiteY3" fmla="*/ 6858002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21027" h="6858002">
                <a:moveTo>
                  <a:pt x="0" y="0"/>
                </a:moveTo>
                <a:lnTo>
                  <a:pt x="2621027" y="0"/>
                </a:lnTo>
                <a:lnTo>
                  <a:pt x="2621027" y="6858002"/>
                </a:lnTo>
                <a:lnTo>
                  <a:pt x="0" y="685800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DC8EFB7-B364-47A2-AEDC-00960DD8AF2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089408" y="0"/>
            <a:ext cx="2017697" cy="3384330"/>
          </a:xfrm>
          <a:custGeom>
            <a:avLst/>
            <a:gdLst>
              <a:gd name="connsiteX0" fmla="*/ 0 w 2690262"/>
              <a:gd name="connsiteY0" fmla="*/ 0 h 3384330"/>
              <a:gd name="connsiteX1" fmla="*/ 2690262 w 2690262"/>
              <a:gd name="connsiteY1" fmla="*/ 0 h 3384330"/>
              <a:gd name="connsiteX2" fmla="*/ 2690262 w 2690262"/>
              <a:gd name="connsiteY2" fmla="*/ 3384330 h 3384330"/>
              <a:gd name="connsiteX3" fmla="*/ 0 w 2690262"/>
              <a:gd name="connsiteY3" fmla="*/ 3384330 h 338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0262" h="3384330">
                <a:moveTo>
                  <a:pt x="0" y="0"/>
                </a:moveTo>
                <a:lnTo>
                  <a:pt x="2690262" y="0"/>
                </a:lnTo>
                <a:lnTo>
                  <a:pt x="2690262" y="3384330"/>
                </a:lnTo>
                <a:lnTo>
                  <a:pt x="0" y="3384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37513B07-4A69-47F3-BF43-6384706963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089408" y="3473670"/>
            <a:ext cx="2017697" cy="3384330"/>
          </a:xfrm>
          <a:custGeom>
            <a:avLst/>
            <a:gdLst>
              <a:gd name="connsiteX0" fmla="*/ 0 w 2690262"/>
              <a:gd name="connsiteY0" fmla="*/ 0 h 3384330"/>
              <a:gd name="connsiteX1" fmla="*/ 2690262 w 2690262"/>
              <a:gd name="connsiteY1" fmla="*/ 0 h 3384330"/>
              <a:gd name="connsiteX2" fmla="*/ 2690262 w 2690262"/>
              <a:gd name="connsiteY2" fmla="*/ 3384330 h 3384330"/>
              <a:gd name="connsiteX3" fmla="*/ 0 w 2690262"/>
              <a:gd name="connsiteY3" fmla="*/ 3384330 h 338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0262" h="3384330">
                <a:moveTo>
                  <a:pt x="0" y="0"/>
                </a:moveTo>
                <a:lnTo>
                  <a:pt x="2690262" y="0"/>
                </a:lnTo>
                <a:lnTo>
                  <a:pt x="2690262" y="3384330"/>
                </a:lnTo>
                <a:lnTo>
                  <a:pt x="0" y="3384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F52C1A-C3CD-CA46-97CD-B7F0893FC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38862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7" name="Graphique 6">
            <a:extLst>
              <a:ext uri="{FF2B5EF4-FFF2-40B4-BE49-F238E27FC236}">
                <a16:creationId xmlns:a16="http://schemas.microsoft.com/office/drawing/2014/main" id="{0E22066D-59D7-954A-9A1E-036E327370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FA4B261-A6C0-CC46-8542-291E882976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78901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ertical pics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9DAA3CD-5647-F14F-A7B8-B88059DA9B43}"/>
              </a:ext>
            </a:extLst>
          </p:cNvPr>
          <p:cNvSpPr/>
          <p:nvPr/>
        </p:nvSpPr>
        <p:spPr>
          <a:xfrm>
            <a:off x="3242622" y="6309320"/>
            <a:ext cx="2625522" cy="432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62" b="0" i="0">
                <a:latin typeface="Segoe UI Light" panose="020B0502040204020203" pitchFamily="34" charset="0"/>
              </a:rPr>
              <a:t>v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434CB8D0-D59C-4D68-81E3-A6D1431A718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595260" y="164388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C87BC13F-0E4D-4CE6-90A9-DFA22DE9CD4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95260" y="2219221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D0B65217-5749-46F0-8CAB-6D71279DE44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95261" y="4274050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E13CF094-A329-4D2A-9DFD-3D9EB3B314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47533" y="164386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B56F9E2F-4FDB-4DBD-B223-674B1324199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47533" y="2746705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4FEEE239-474C-45B0-8624-C52E4118009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47533" y="4799905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0A0FDDBC-9764-435B-9487-94326EB8A0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98845" y="164388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390EE34F-0B03-47CF-BC9F-4BC9A0D445A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498845" y="2219220"/>
            <a:ext cx="1417834" cy="1890445"/>
          </a:xfrm>
          <a:custGeom>
            <a:avLst/>
            <a:gdLst>
              <a:gd name="connsiteX0" fmla="*/ 0 w 1890445"/>
              <a:gd name="connsiteY0" fmla="*/ 0 h 1890445"/>
              <a:gd name="connsiteX1" fmla="*/ 1890445 w 1890445"/>
              <a:gd name="connsiteY1" fmla="*/ 0 h 1890445"/>
              <a:gd name="connsiteX2" fmla="*/ 1890445 w 1890445"/>
              <a:gd name="connsiteY2" fmla="*/ 1890445 h 1890445"/>
              <a:gd name="connsiteX3" fmla="*/ 0 w 1890445"/>
              <a:gd name="connsiteY3" fmla="*/ 1890445 h 18904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1890445">
                <a:moveTo>
                  <a:pt x="0" y="0"/>
                </a:moveTo>
                <a:lnTo>
                  <a:pt x="1890445" y="0"/>
                </a:lnTo>
                <a:lnTo>
                  <a:pt x="1890445" y="1890445"/>
                </a:lnTo>
                <a:lnTo>
                  <a:pt x="0" y="189044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57BBAAE-8ACB-446E-8349-A7EA1DD0748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98845" y="4274050"/>
            <a:ext cx="1417834" cy="2419562"/>
          </a:xfrm>
          <a:custGeom>
            <a:avLst/>
            <a:gdLst>
              <a:gd name="connsiteX0" fmla="*/ 0 w 1890445"/>
              <a:gd name="connsiteY0" fmla="*/ 0 h 2419562"/>
              <a:gd name="connsiteX1" fmla="*/ 1890445 w 1890445"/>
              <a:gd name="connsiteY1" fmla="*/ 0 h 2419562"/>
              <a:gd name="connsiteX2" fmla="*/ 1890445 w 1890445"/>
              <a:gd name="connsiteY2" fmla="*/ 2419562 h 2419562"/>
              <a:gd name="connsiteX3" fmla="*/ 0 w 1890445"/>
              <a:gd name="connsiteY3" fmla="*/ 2419562 h 241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90445" h="2419562">
                <a:moveTo>
                  <a:pt x="0" y="0"/>
                </a:moveTo>
                <a:lnTo>
                  <a:pt x="1890445" y="0"/>
                </a:lnTo>
                <a:lnTo>
                  <a:pt x="1890445" y="2419562"/>
                </a:lnTo>
                <a:lnTo>
                  <a:pt x="0" y="24195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50"/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EF87CBF-E2CB-9A42-8134-29D298E24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28700"/>
            <a:ext cx="2556822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D3AC5BD6-EE41-334A-8DC5-5AD0B4ACDA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pic>
        <p:nvPicPr>
          <p:cNvPr id="14" name="Graphique 13">
            <a:extLst>
              <a:ext uri="{FF2B5EF4-FFF2-40B4-BE49-F238E27FC236}">
                <a16:creationId xmlns:a16="http://schemas.microsoft.com/office/drawing/2014/main" id="{C384C370-E765-884A-B453-D3AFF5C4E2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15694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bat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9DC2A07F-A71C-4649-A0BD-EB51EB58FAE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4587" y="1268413"/>
            <a:ext cx="2624503" cy="39243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5F72A3E-7267-C741-9065-F5931E1FD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79965"/>
            <a:ext cx="3387683" cy="42682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BE5E838-2D41-074D-80EE-4F993E6E49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728700"/>
            <a:ext cx="2556822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9CA01C99-3F22-2549-AE67-B742C6CA35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60648"/>
            <a:ext cx="232641" cy="426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463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9">
          <p15:clr>
            <a:srgbClr val="FBAE40"/>
          </p15:clr>
        </p15:guide>
        <p15:guide id="2" pos="7681">
          <p15:clr>
            <a:srgbClr val="FBAE40"/>
          </p15:clr>
        </p15:guide>
        <p15:guide id="3" pos="3825">
          <p15:clr>
            <a:srgbClr val="FBAE40"/>
          </p15:clr>
        </p15:guide>
        <p15:guide id="4" pos="11537">
          <p15:clr>
            <a:srgbClr val="FBAE40"/>
          </p15:clr>
        </p15:guide>
        <p15:guide id="5" orient="horz" pos="5772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0024681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1477" b="0" i="0" baseline="0">
              <a:latin typeface="Segoe UI" panose="020B0502040204020203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id="{B91C5F77-F5BB-4753-B200-70E9F2477A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11769" y="6407719"/>
            <a:ext cx="976267" cy="301756"/>
          </a:xfrm>
          <a:prstGeom prst="rect">
            <a:avLst/>
          </a:prstGeom>
        </p:spPr>
        <p:txBody>
          <a:bodyPr anchor="ctr"/>
          <a:lstStyle>
            <a:lvl1pPr algn="ctr">
              <a:defRPr sz="10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C90B2B3-5D04-4D90-8340-AE1A8DEC9546}" type="datetime1">
              <a:rPr lang="fr-FR" smtClean="0"/>
              <a:t>09/11/2022</a:t>
            </a:fld>
            <a:endParaRPr lang="fr-FR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1FAE3667-EB04-45DD-B79A-6B681E86A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44247" y="6407719"/>
            <a:ext cx="5055507" cy="301756"/>
          </a:xfrm>
          <a:prstGeom prst="rect">
            <a:avLst/>
          </a:prstGeom>
        </p:spPr>
        <p:txBody>
          <a:bodyPr anchor="ctr"/>
          <a:lstStyle>
            <a:lvl1pPr algn="ctr">
              <a:defRPr sz="101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/>
              <a:t>© 2019 – Exécution du marché conseil en stratégie N°615186</a:t>
            </a:r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EC5745F2-CAB9-4626-9D96-F502EE4C6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05836" y="6407719"/>
            <a:ext cx="520176" cy="301756"/>
          </a:xfrm>
          <a:prstGeom prst="rect">
            <a:avLst/>
          </a:prstGeom>
        </p:spPr>
        <p:txBody>
          <a:bodyPr rIns="0" anchor="ctr"/>
          <a:lstStyle>
            <a:lvl1pPr algn="r">
              <a:defRPr sz="1015" b="0">
                <a:solidFill>
                  <a:schemeClr val="tx2"/>
                </a:solidFill>
              </a:defRPr>
            </a:lvl1pPr>
          </a:lstStyle>
          <a:p>
            <a:fld id="{5B4B94EB-EA19-4609-98BF-9B9B2F674865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6E3F56A-B978-4FC8-BBBC-E2513A549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989" y="260350"/>
            <a:ext cx="8508023" cy="406400"/>
          </a:xfrm>
        </p:spPr>
        <p:txBody>
          <a:bodyPr anchor="b">
            <a:normAutofit/>
          </a:bodyPr>
          <a:lstStyle>
            <a:lvl1pPr>
              <a:defRPr sz="1477" b="1"/>
            </a:lvl1pPr>
          </a:lstStyle>
          <a:p>
            <a:r>
              <a:rPr lang="fr-FR"/>
              <a:t>Modifiez le style du tit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2410BE33-DA7F-41D2-BB8A-AF34FCAD45D0}"/>
              </a:ext>
            </a:extLst>
          </p:cNvPr>
          <p:cNvCxnSpPr/>
          <p:nvPr userDrawn="1"/>
        </p:nvCxnSpPr>
        <p:spPr>
          <a:xfrm>
            <a:off x="317989" y="693420"/>
            <a:ext cx="300990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DD66314-9254-4080-8ACA-D2FCC8B073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17989" y="981075"/>
            <a:ext cx="8508023" cy="5219700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3592254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EB5686E0-D12E-4E20-B4BD-F9E63E0B5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2097" y="241254"/>
            <a:ext cx="8682021" cy="268889"/>
          </a:xfrm>
        </p:spPr>
        <p:txBody>
          <a:bodyPr>
            <a:normAutofit/>
          </a:bodyPr>
          <a:lstStyle>
            <a:lvl1pPr marL="0" indent="0">
              <a:buNone/>
              <a:defRPr sz="923" b="0">
                <a:solidFill>
                  <a:srgbClr val="25303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PARTIE</a:t>
            </a:r>
          </a:p>
        </p:txBody>
      </p:sp>
      <p:pic>
        <p:nvPicPr>
          <p:cNvPr id="27" name="Image 26">
            <a:extLst>
              <a:ext uri="{FF2B5EF4-FFF2-40B4-BE49-F238E27FC236}">
                <a16:creationId xmlns:a16="http://schemas.microsoft.com/office/drawing/2014/main" id="{0BC18E22-FAF5-4927-86F4-705A7BC650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5808" y="6392265"/>
            <a:ext cx="1563657" cy="308538"/>
          </a:xfrm>
          <a:prstGeom prst="rect">
            <a:avLst/>
          </a:prstGeom>
        </p:spPr>
      </p:pic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29C038B-63C9-41DE-8C9D-07E34B5851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7260" y="1670958"/>
            <a:ext cx="8556857" cy="4435929"/>
          </a:xfrm>
        </p:spPr>
        <p:txBody>
          <a:bodyPr>
            <a:normAutofit/>
          </a:bodyPr>
          <a:lstStyle>
            <a:lvl1pPr>
              <a:defRPr sz="1662"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77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292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108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3" name="Espace réservé du numéro de diapositive 6">
            <a:extLst>
              <a:ext uri="{FF2B5EF4-FFF2-40B4-BE49-F238E27FC236}">
                <a16:creationId xmlns:a16="http://schemas.microsoft.com/office/drawing/2014/main" id="{FC2F0DA0-AE1A-406E-9E60-EF99C282D326}"/>
              </a:ext>
            </a:extLst>
          </p:cNvPr>
          <p:cNvSpPr txBox="1">
            <a:spLocks/>
          </p:cNvSpPr>
          <p:nvPr userDrawn="1"/>
        </p:nvSpPr>
        <p:spPr>
          <a:xfrm>
            <a:off x="8159563" y="6533980"/>
            <a:ext cx="711097" cy="160477"/>
          </a:xfrm>
          <a:prstGeom prst="rect">
            <a:avLst/>
          </a:prstGeom>
          <a:ln/>
        </p:spPr>
        <p:txBody>
          <a:bodyPr lIns="0" tIns="0" rIns="0" bIns="0" anchor="ctr"/>
          <a:lstStyle>
            <a:defPPr>
              <a:defRPr lang="en-US"/>
            </a:defPPr>
            <a:lvl1pPr algn="r" fontAlgn="base">
              <a:spcBef>
                <a:spcPct val="0"/>
              </a:spcBef>
              <a:spcAft>
                <a:spcPct val="0"/>
              </a:spcAft>
              <a:defRPr sz="1100" b="0">
                <a:latin typeface="+mj-lt"/>
              </a:defRPr>
            </a:lvl1pPr>
          </a:lstStyle>
          <a:p>
            <a:pPr lvl="0"/>
            <a:fld id="{2F4A09D7-638C-47F5-969E-E26C62A50C43}" type="slidenum">
              <a:rPr sz="1015" noProof="0" smtClean="0">
                <a:latin typeface="Calibri" panose="020F0502020204030204" pitchFamily="34" charset="0"/>
              </a:rPr>
              <a:pPr lvl="0"/>
              <a:t>‹N°›</a:t>
            </a:fld>
            <a:endParaRPr sz="1015" noProof="0">
              <a:latin typeface="Calibri" panose="020F0502020204030204" pitchFamily="34" charset="0"/>
            </a:endParaRP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3B4148CC-1443-41EC-8060-1C80B1A7591F}"/>
              </a:ext>
            </a:extLst>
          </p:cNvPr>
          <p:cNvCxnSpPr>
            <a:cxnSpLocks/>
          </p:cNvCxnSpPr>
          <p:nvPr userDrawn="1"/>
        </p:nvCxnSpPr>
        <p:spPr>
          <a:xfrm>
            <a:off x="327259" y="654525"/>
            <a:ext cx="0" cy="608214"/>
          </a:xfrm>
          <a:prstGeom prst="line">
            <a:avLst/>
          </a:prstGeom>
          <a:ln w="38100">
            <a:solidFill>
              <a:srgbClr val="64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9E147AA0-0360-4F27-A0A9-E3BD2A3420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6101" y="654525"/>
            <a:ext cx="8528013" cy="608214"/>
          </a:xfrm>
        </p:spPr>
        <p:txBody>
          <a:bodyPr>
            <a:noAutofit/>
          </a:bodyPr>
          <a:lstStyle>
            <a:lvl1pPr marL="0" indent="0">
              <a:buNone/>
              <a:defRPr sz="2031" b="1">
                <a:solidFill>
                  <a:srgbClr val="00B0F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Titre de la diapositive</a:t>
            </a:r>
          </a:p>
        </p:txBody>
      </p:sp>
      <p:cxnSp>
        <p:nvCxnSpPr>
          <p:cNvPr id="8" name="Connecteur droit 7">
            <a:extLst>
              <a:ext uri="{FF2B5EF4-FFF2-40B4-BE49-F238E27FC236}">
                <a16:creationId xmlns:a16="http://schemas.microsoft.com/office/drawing/2014/main" id="{3CF30454-A564-498D-8768-BBC26C8A6312}"/>
              </a:ext>
            </a:extLst>
          </p:cNvPr>
          <p:cNvCxnSpPr/>
          <p:nvPr userDrawn="1"/>
        </p:nvCxnSpPr>
        <p:spPr>
          <a:xfrm>
            <a:off x="327260" y="519766"/>
            <a:ext cx="8489482" cy="0"/>
          </a:xfrm>
          <a:prstGeom prst="line">
            <a:avLst/>
          </a:prstGeom>
          <a:ln>
            <a:solidFill>
              <a:srgbClr val="25303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6434262"/>
      </p:ext>
    </p:extLst>
  </p:cSld>
  <p:clrMapOvr>
    <a:masterClrMapping/>
  </p:clrMapOvr>
  <p:hf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pic>
        <p:nvPicPr>
          <p:cNvPr id="4" name="Graphique 3">
            <a:extLst>
              <a:ext uri="{FF2B5EF4-FFF2-40B4-BE49-F238E27FC236}">
                <a16:creationId xmlns:a16="http://schemas.microsoft.com/office/drawing/2014/main" id="{059307A9-CCA1-C141-8CBA-EF3702A508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377" y="273894"/>
            <a:ext cx="232641" cy="426822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1171052-1C83-E947-8934-6A56CD4DB0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700716"/>
            <a:ext cx="7772400" cy="406400"/>
          </a:xfrm>
        </p:spPr>
        <p:txBody>
          <a:bodyPr>
            <a:normAutofit/>
          </a:bodyPr>
          <a:lstStyle>
            <a:lvl1pPr marL="0" indent="0" algn="l">
              <a:lnSpc>
                <a:spcPct val="86000"/>
              </a:lnSpc>
              <a:spcBef>
                <a:spcPts val="0"/>
              </a:spcBef>
              <a:buNone/>
              <a:defRPr sz="135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0DC2DEF-D8DD-D647-9566-83D46914D4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274638"/>
            <a:ext cx="7772400" cy="425450"/>
          </a:xfrm>
        </p:spPr>
        <p:txBody>
          <a:bodyPr>
            <a:normAutofit/>
          </a:bodyPr>
          <a:lstStyle>
            <a:lvl1pPr marL="0" indent="0">
              <a:buNone/>
              <a:defRPr sz="2105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67545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69B986-A51F-D245-9BCC-3B1679B13915}"/>
              </a:ext>
            </a:extLst>
          </p:cNvPr>
          <p:cNvSpPr/>
          <p:nvPr/>
        </p:nvSpPr>
        <p:spPr>
          <a:xfrm>
            <a:off x="0" y="5805264"/>
            <a:ext cx="9144000" cy="1052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62" b="0" i="0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375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slideLayout" Target="../slideLayouts/slideLayout81.xml"/><Relationship Id="rId47" Type="http://schemas.openxmlformats.org/officeDocument/2006/relationships/slideLayout" Target="../slideLayouts/slideLayout86.xml"/><Relationship Id="rId50" Type="http://schemas.openxmlformats.org/officeDocument/2006/relationships/slideLayout" Target="../slideLayouts/slideLayout89.xml"/><Relationship Id="rId55" Type="http://schemas.openxmlformats.org/officeDocument/2006/relationships/slideLayout" Target="../slideLayouts/slideLayout94.xml"/><Relationship Id="rId63" Type="http://schemas.openxmlformats.org/officeDocument/2006/relationships/image" Target="../media/image12.emf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slideLayout" Target="../slideLayouts/slideLayout79.xml"/><Relationship Id="rId45" Type="http://schemas.openxmlformats.org/officeDocument/2006/relationships/slideLayout" Target="../slideLayouts/slideLayout84.xml"/><Relationship Id="rId53" Type="http://schemas.openxmlformats.org/officeDocument/2006/relationships/slideLayout" Target="../slideLayouts/slideLayout92.xml"/><Relationship Id="rId58" Type="http://schemas.openxmlformats.org/officeDocument/2006/relationships/slideLayout" Target="../slideLayouts/slideLayout97.xml"/><Relationship Id="rId5" Type="http://schemas.openxmlformats.org/officeDocument/2006/relationships/slideLayout" Target="../slideLayouts/slideLayout44.xml"/><Relationship Id="rId61" Type="http://schemas.openxmlformats.org/officeDocument/2006/relationships/tags" Target="../tags/tag5.xml"/><Relationship Id="rId1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slideLayout" Target="../slideLayouts/slideLayout82.xml"/><Relationship Id="rId48" Type="http://schemas.openxmlformats.org/officeDocument/2006/relationships/slideLayout" Target="../slideLayouts/slideLayout87.xml"/><Relationship Id="rId56" Type="http://schemas.openxmlformats.org/officeDocument/2006/relationships/slideLayout" Target="../slideLayouts/slideLayout95.xml"/><Relationship Id="rId64" Type="http://schemas.openxmlformats.org/officeDocument/2006/relationships/image" Target="../media/image13.png"/><Relationship Id="rId8" Type="http://schemas.openxmlformats.org/officeDocument/2006/relationships/slideLayout" Target="../slideLayouts/slideLayout47.xml"/><Relationship Id="rId51" Type="http://schemas.openxmlformats.org/officeDocument/2006/relationships/slideLayout" Target="../slideLayouts/slideLayout90.xml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46" Type="http://schemas.openxmlformats.org/officeDocument/2006/relationships/slideLayout" Target="../slideLayouts/slideLayout85.xml"/><Relationship Id="rId59" Type="http://schemas.openxmlformats.org/officeDocument/2006/relationships/theme" Target="../theme/theme2.xml"/><Relationship Id="rId20" Type="http://schemas.openxmlformats.org/officeDocument/2006/relationships/slideLayout" Target="../slideLayouts/slideLayout59.xml"/><Relationship Id="rId41" Type="http://schemas.openxmlformats.org/officeDocument/2006/relationships/slideLayout" Target="../slideLayouts/slideLayout80.xml"/><Relationship Id="rId54" Type="http://schemas.openxmlformats.org/officeDocument/2006/relationships/slideLayout" Target="../slideLayouts/slideLayout93.xml"/><Relationship Id="rId62" Type="http://schemas.openxmlformats.org/officeDocument/2006/relationships/oleObject" Target="../embeddings/oleObject2.bin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49" Type="http://schemas.openxmlformats.org/officeDocument/2006/relationships/slideLayout" Target="../slideLayouts/slideLayout88.xml"/><Relationship Id="rId57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49.xml"/><Relationship Id="rId31" Type="http://schemas.openxmlformats.org/officeDocument/2006/relationships/slideLayout" Target="../slideLayouts/slideLayout70.xml"/><Relationship Id="rId44" Type="http://schemas.openxmlformats.org/officeDocument/2006/relationships/slideLayout" Target="../slideLayouts/slideLayout83.xml"/><Relationship Id="rId52" Type="http://schemas.openxmlformats.org/officeDocument/2006/relationships/slideLayout" Target="../slideLayouts/slideLayout91.xml"/><Relationship Id="rId60" Type="http://schemas.openxmlformats.org/officeDocument/2006/relationships/tags" Target="../tags/tag4.xml"/><Relationship Id="rId65" Type="http://schemas.openxmlformats.org/officeDocument/2006/relationships/image" Target="../media/image14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9" Type="http://schemas.openxmlformats.org/officeDocument/2006/relationships/slideLayout" Target="../slideLayouts/slideLayout7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slideLayout" Target="../slideLayouts/slideLayout136.xml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50" Type="http://schemas.openxmlformats.org/officeDocument/2006/relationships/slideLayout" Target="../slideLayouts/slideLayout147.xml"/><Relationship Id="rId55" Type="http://schemas.openxmlformats.org/officeDocument/2006/relationships/slideLayout" Target="../slideLayouts/slideLayout152.xml"/><Relationship Id="rId63" Type="http://schemas.openxmlformats.org/officeDocument/2006/relationships/image" Target="../media/image13.png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53" Type="http://schemas.openxmlformats.org/officeDocument/2006/relationships/slideLayout" Target="../slideLayouts/slideLayout150.xml"/><Relationship Id="rId58" Type="http://schemas.openxmlformats.org/officeDocument/2006/relationships/theme" Target="../theme/theme3.xml"/><Relationship Id="rId5" Type="http://schemas.openxmlformats.org/officeDocument/2006/relationships/slideLayout" Target="../slideLayouts/slideLayout102.xml"/><Relationship Id="rId61" Type="http://schemas.openxmlformats.org/officeDocument/2006/relationships/oleObject" Target="../embeddings/oleObject4.bin"/><Relationship Id="rId1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56" Type="http://schemas.openxmlformats.org/officeDocument/2006/relationships/slideLayout" Target="../slideLayouts/slideLayout153.xml"/><Relationship Id="rId64" Type="http://schemas.openxmlformats.org/officeDocument/2006/relationships/image" Target="../media/image14.png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43.xml"/><Relationship Id="rId59" Type="http://schemas.openxmlformats.org/officeDocument/2006/relationships/tags" Target="../tags/tag8.xml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54" Type="http://schemas.openxmlformats.org/officeDocument/2006/relationships/slideLayout" Target="../slideLayouts/slideLayout151.xml"/><Relationship Id="rId62" Type="http://schemas.openxmlformats.org/officeDocument/2006/relationships/image" Target="../media/image12.emf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Relationship Id="rId57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60" Type="http://schemas.openxmlformats.org/officeDocument/2006/relationships/tags" Target="../tags/tag9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80.xml"/><Relationship Id="rId21" Type="http://schemas.openxmlformats.org/officeDocument/2006/relationships/slideLayout" Target="../slideLayouts/slideLayout175.xml"/><Relationship Id="rId42" Type="http://schemas.openxmlformats.org/officeDocument/2006/relationships/slideLayout" Target="../slideLayouts/slideLayout196.xml"/><Relationship Id="rId47" Type="http://schemas.openxmlformats.org/officeDocument/2006/relationships/slideLayout" Target="../slideLayouts/slideLayout201.xml"/><Relationship Id="rId63" Type="http://schemas.openxmlformats.org/officeDocument/2006/relationships/slideLayout" Target="../slideLayouts/slideLayout217.xml"/><Relationship Id="rId68" Type="http://schemas.openxmlformats.org/officeDocument/2006/relationships/slideLayout" Target="../slideLayouts/slideLayout222.xml"/><Relationship Id="rId84" Type="http://schemas.openxmlformats.org/officeDocument/2006/relationships/tags" Target="../tags/tag12.xml"/><Relationship Id="rId89" Type="http://schemas.openxmlformats.org/officeDocument/2006/relationships/image" Target="../media/image14.png"/><Relationship Id="rId1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65.xml"/><Relationship Id="rId32" Type="http://schemas.openxmlformats.org/officeDocument/2006/relationships/slideLayout" Target="../slideLayouts/slideLayout186.xml"/><Relationship Id="rId37" Type="http://schemas.openxmlformats.org/officeDocument/2006/relationships/slideLayout" Target="../slideLayouts/slideLayout191.xml"/><Relationship Id="rId53" Type="http://schemas.openxmlformats.org/officeDocument/2006/relationships/slideLayout" Target="../slideLayouts/slideLayout207.xml"/><Relationship Id="rId58" Type="http://schemas.openxmlformats.org/officeDocument/2006/relationships/slideLayout" Target="../slideLayouts/slideLayout212.xml"/><Relationship Id="rId74" Type="http://schemas.openxmlformats.org/officeDocument/2006/relationships/slideLayout" Target="../slideLayouts/slideLayout228.xml"/><Relationship Id="rId79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84.xml"/><Relationship Id="rId35" Type="http://schemas.openxmlformats.org/officeDocument/2006/relationships/slideLayout" Target="../slideLayouts/slideLayout189.xml"/><Relationship Id="rId43" Type="http://schemas.openxmlformats.org/officeDocument/2006/relationships/slideLayout" Target="../slideLayouts/slideLayout197.xml"/><Relationship Id="rId48" Type="http://schemas.openxmlformats.org/officeDocument/2006/relationships/slideLayout" Target="../slideLayouts/slideLayout202.xml"/><Relationship Id="rId56" Type="http://schemas.openxmlformats.org/officeDocument/2006/relationships/slideLayout" Target="../slideLayouts/slideLayout210.xml"/><Relationship Id="rId64" Type="http://schemas.openxmlformats.org/officeDocument/2006/relationships/slideLayout" Target="../slideLayouts/slideLayout218.xml"/><Relationship Id="rId69" Type="http://schemas.openxmlformats.org/officeDocument/2006/relationships/slideLayout" Target="../slideLayouts/slideLayout223.xml"/><Relationship Id="rId77" Type="http://schemas.openxmlformats.org/officeDocument/2006/relationships/slideLayout" Target="../slideLayouts/slideLayout231.xml"/><Relationship Id="rId8" Type="http://schemas.openxmlformats.org/officeDocument/2006/relationships/slideLayout" Target="../slideLayouts/slideLayout162.xml"/><Relationship Id="rId51" Type="http://schemas.openxmlformats.org/officeDocument/2006/relationships/slideLayout" Target="../slideLayouts/slideLayout205.xml"/><Relationship Id="rId72" Type="http://schemas.openxmlformats.org/officeDocument/2006/relationships/slideLayout" Target="../slideLayouts/slideLayout226.xml"/><Relationship Id="rId80" Type="http://schemas.openxmlformats.org/officeDocument/2006/relationships/slideLayout" Target="../slideLayouts/slideLayout234.xml"/><Relationship Id="rId85" Type="http://schemas.openxmlformats.org/officeDocument/2006/relationships/tags" Target="../tags/tag13.xml"/><Relationship Id="rId3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33" Type="http://schemas.openxmlformats.org/officeDocument/2006/relationships/slideLayout" Target="../slideLayouts/slideLayout187.xml"/><Relationship Id="rId38" Type="http://schemas.openxmlformats.org/officeDocument/2006/relationships/slideLayout" Target="../slideLayouts/slideLayout192.xml"/><Relationship Id="rId46" Type="http://schemas.openxmlformats.org/officeDocument/2006/relationships/slideLayout" Target="../slideLayouts/slideLayout200.xml"/><Relationship Id="rId59" Type="http://schemas.openxmlformats.org/officeDocument/2006/relationships/slideLayout" Target="../slideLayouts/slideLayout213.xml"/><Relationship Id="rId67" Type="http://schemas.openxmlformats.org/officeDocument/2006/relationships/slideLayout" Target="../slideLayouts/slideLayout221.xml"/><Relationship Id="rId20" Type="http://schemas.openxmlformats.org/officeDocument/2006/relationships/slideLayout" Target="../slideLayouts/slideLayout174.xml"/><Relationship Id="rId41" Type="http://schemas.openxmlformats.org/officeDocument/2006/relationships/slideLayout" Target="../slideLayouts/slideLayout195.xml"/><Relationship Id="rId54" Type="http://schemas.openxmlformats.org/officeDocument/2006/relationships/slideLayout" Target="../slideLayouts/slideLayout208.xml"/><Relationship Id="rId62" Type="http://schemas.openxmlformats.org/officeDocument/2006/relationships/slideLayout" Target="../slideLayouts/slideLayout216.xml"/><Relationship Id="rId70" Type="http://schemas.openxmlformats.org/officeDocument/2006/relationships/slideLayout" Target="../slideLayouts/slideLayout224.xml"/><Relationship Id="rId75" Type="http://schemas.openxmlformats.org/officeDocument/2006/relationships/slideLayout" Target="../slideLayouts/slideLayout229.xml"/><Relationship Id="rId83" Type="http://schemas.openxmlformats.org/officeDocument/2006/relationships/theme" Target="../theme/theme4.xml"/><Relationship Id="rId88" Type="http://schemas.openxmlformats.org/officeDocument/2006/relationships/image" Target="../media/image13.png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36" Type="http://schemas.openxmlformats.org/officeDocument/2006/relationships/slideLayout" Target="../slideLayouts/slideLayout190.xml"/><Relationship Id="rId49" Type="http://schemas.openxmlformats.org/officeDocument/2006/relationships/slideLayout" Target="../slideLayouts/slideLayout203.xml"/><Relationship Id="rId57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164.xml"/><Relationship Id="rId31" Type="http://schemas.openxmlformats.org/officeDocument/2006/relationships/slideLayout" Target="../slideLayouts/slideLayout185.xml"/><Relationship Id="rId44" Type="http://schemas.openxmlformats.org/officeDocument/2006/relationships/slideLayout" Target="../slideLayouts/slideLayout198.xml"/><Relationship Id="rId52" Type="http://schemas.openxmlformats.org/officeDocument/2006/relationships/slideLayout" Target="../slideLayouts/slideLayout206.xml"/><Relationship Id="rId60" Type="http://schemas.openxmlformats.org/officeDocument/2006/relationships/slideLayout" Target="../slideLayouts/slideLayout214.xml"/><Relationship Id="rId65" Type="http://schemas.openxmlformats.org/officeDocument/2006/relationships/slideLayout" Target="../slideLayouts/slideLayout219.xml"/><Relationship Id="rId73" Type="http://schemas.openxmlformats.org/officeDocument/2006/relationships/slideLayout" Target="../slideLayouts/slideLayout227.xml"/><Relationship Id="rId78" Type="http://schemas.openxmlformats.org/officeDocument/2006/relationships/slideLayout" Target="../slideLayouts/slideLayout232.xml"/><Relationship Id="rId81" Type="http://schemas.openxmlformats.org/officeDocument/2006/relationships/slideLayout" Target="../slideLayouts/slideLayout235.xml"/><Relationship Id="rId86" Type="http://schemas.openxmlformats.org/officeDocument/2006/relationships/oleObject" Target="../embeddings/oleObject6.bin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39" Type="http://schemas.openxmlformats.org/officeDocument/2006/relationships/slideLayout" Target="../slideLayouts/slideLayout193.xml"/><Relationship Id="rId34" Type="http://schemas.openxmlformats.org/officeDocument/2006/relationships/slideLayout" Target="../slideLayouts/slideLayout188.xml"/><Relationship Id="rId50" Type="http://schemas.openxmlformats.org/officeDocument/2006/relationships/slideLayout" Target="../slideLayouts/slideLayout204.xml"/><Relationship Id="rId55" Type="http://schemas.openxmlformats.org/officeDocument/2006/relationships/slideLayout" Target="../slideLayouts/slideLayout209.xml"/><Relationship Id="rId76" Type="http://schemas.openxmlformats.org/officeDocument/2006/relationships/slideLayout" Target="../slideLayouts/slideLayout230.xml"/><Relationship Id="rId7" Type="http://schemas.openxmlformats.org/officeDocument/2006/relationships/slideLayout" Target="../slideLayouts/slideLayout161.xml"/><Relationship Id="rId71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156.xml"/><Relationship Id="rId29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178.xml"/><Relationship Id="rId40" Type="http://schemas.openxmlformats.org/officeDocument/2006/relationships/slideLayout" Target="../slideLayouts/slideLayout194.xml"/><Relationship Id="rId45" Type="http://schemas.openxmlformats.org/officeDocument/2006/relationships/slideLayout" Target="../slideLayouts/slideLayout199.xml"/><Relationship Id="rId66" Type="http://schemas.openxmlformats.org/officeDocument/2006/relationships/slideLayout" Target="../slideLayouts/slideLayout220.xml"/><Relationship Id="rId87" Type="http://schemas.openxmlformats.org/officeDocument/2006/relationships/image" Target="../media/image12.emf"/><Relationship Id="rId61" Type="http://schemas.openxmlformats.org/officeDocument/2006/relationships/slideLayout" Target="../slideLayouts/slideLayout215.xml"/><Relationship Id="rId82" Type="http://schemas.openxmlformats.org/officeDocument/2006/relationships/slideLayout" Target="../slideLayouts/slideLayout236.xml"/><Relationship Id="rId19" Type="http://schemas.openxmlformats.org/officeDocument/2006/relationships/slideLayout" Target="../slideLayouts/slideLayout173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2.xml"/><Relationship Id="rId21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278.xml"/><Relationship Id="rId47" Type="http://schemas.openxmlformats.org/officeDocument/2006/relationships/slideLayout" Target="../slideLayouts/slideLayout283.xml"/><Relationship Id="rId63" Type="http://schemas.openxmlformats.org/officeDocument/2006/relationships/slideLayout" Target="../slideLayouts/slideLayout299.xml"/><Relationship Id="rId68" Type="http://schemas.openxmlformats.org/officeDocument/2006/relationships/slideLayout" Target="../slideLayouts/slideLayout304.xml"/><Relationship Id="rId84" Type="http://schemas.openxmlformats.org/officeDocument/2006/relationships/tags" Target="../tags/tag19.xml"/><Relationship Id="rId89" Type="http://schemas.openxmlformats.org/officeDocument/2006/relationships/image" Target="../media/image14.png"/><Relationship Id="rId16" Type="http://schemas.openxmlformats.org/officeDocument/2006/relationships/slideLayout" Target="../slideLayouts/slideLayout252.xml"/><Relationship Id="rId11" Type="http://schemas.openxmlformats.org/officeDocument/2006/relationships/slideLayout" Target="../slideLayouts/slideLayout247.xml"/><Relationship Id="rId32" Type="http://schemas.openxmlformats.org/officeDocument/2006/relationships/slideLayout" Target="../slideLayouts/slideLayout268.xml"/><Relationship Id="rId37" Type="http://schemas.openxmlformats.org/officeDocument/2006/relationships/slideLayout" Target="../slideLayouts/slideLayout273.xml"/><Relationship Id="rId53" Type="http://schemas.openxmlformats.org/officeDocument/2006/relationships/slideLayout" Target="../slideLayouts/slideLayout289.xml"/><Relationship Id="rId58" Type="http://schemas.openxmlformats.org/officeDocument/2006/relationships/slideLayout" Target="../slideLayouts/slideLayout294.xml"/><Relationship Id="rId74" Type="http://schemas.openxmlformats.org/officeDocument/2006/relationships/slideLayout" Target="../slideLayouts/slideLayout310.xml"/><Relationship Id="rId79" Type="http://schemas.openxmlformats.org/officeDocument/2006/relationships/slideLayout" Target="../slideLayouts/slideLayout315.xml"/><Relationship Id="rId5" Type="http://schemas.openxmlformats.org/officeDocument/2006/relationships/slideLayout" Target="../slideLayouts/slideLayout241.xml"/><Relationship Id="rId14" Type="http://schemas.openxmlformats.org/officeDocument/2006/relationships/slideLayout" Target="../slideLayouts/slideLayout250.xml"/><Relationship Id="rId22" Type="http://schemas.openxmlformats.org/officeDocument/2006/relationships/slideLayout" Target="../slideLayouts/slideLayout258.xml"/><Relationship Id="rId27" Type="http://schemas.openxmlformats.org/officeDocument/2006/relationships/slideLayout" Target="../slideLayouts/slideLayout263.xml"/><Relationship Id="rId30" Type="http://schemas.openxmlformats.org/officeDocument/2006/relationships/slideLayout" Target="../slideLayouts/slideLayout266.xml"/><Relationship Id="rId35" Type="http://schemas.openxmlformats.org/officeDocument/2006/relationships/slideLayout" Target="../slideLayouts/slideLayout271.xml"/><Relationship Id="rId43" Type="http://schemas.openxmlformats.org/officeDocument/2006/relationships/slideLayout" Target="../slideLayouts/slideLayout279.xml"/><Relationship Id="rId48" Type="http://schemas.openxmlformats.org/officeDocument/2006/relationships/slideLayout" Target="../slideLayouts/slideLayout284.xml"/><Relationship Id="rId56" Type="http://schemas.openxmlformats.org/officeDocument/2006/relationships/slideLayout" Target="../slideLayouts/slideLayout292.xml"/><Relationship Id="rId64" Type="http://schemas.openxmlformats.org/officeDocument/2006/relationships/slideLayout" Target="../slideLayouts/slideLayout300.xml"/><Relationship Id="rId69" Type="http://schemas.openxmlformats.org/officeDocument/2006/relationships/slideLayout" Target="../slideLayouts/slideLayout305.xml"/><Relationship Id="rId77" Type="http://schemas.openxmlformats.org/officeDocument/2006/relationships/slideLayout" Target="../slideLayouts/slideLayout313.xml"/><Relationship Id="rId8" Type="http://schemas.openxmlformats.org/officeDocument/2006/relationships/slideLayout" Target="../slideLayouts/slideLayout244.xml"/><Relationship Id="rId51" Type="http://schemas.openxmlformats.org/officeDocument/2006/relationships/slideLayout" Target="../slideLayouts/slideLayout287.xml"/><Relationship Id="rId72" Type="http://schemas.openxmlformats.org/officeDocument/2006/relationships/slideLayout" Target="../slideLayouts/slideLayout308.xml"/><Relationship Id="rId80" Type="http://schemas.openxmlformats.org/officeDocument/2006/relationships/slideLayout" Target="../slideLayouts/slideLayout316.xml"/><Relationship Id="rId85" Type="http://schemas.openxmlformats.org/officeDocument/2006/relationships/tags" Target="../tags/tag20.xml"/><Relationship Id="rId3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8.xml"/><Relationship Id="rId17" Type="http://schemas.openxmlformats.org/officeDocument/2006/relationships/slideLayout" Target="../slideLayouts/slideLayout253.xml"/><Relationship Id="rId25" Type="http://schemas.openxmlformats.org/officeDocument/2006/relationships/slideLayout" Target="../slideLayouts/slideLayout261.xml"/><Relationship Id="rId33" Type="http://schemas.openxmlformats.org/officeDocument/2006/relationships/slideLayout" Target="../slideLayouts/slideLayout269.xml"/><Relationship Id="rId38" Type="http://schemas.openxmlformats.org/officeDocument/2006/relationships/slideLayout" Target="../slideLayouts/slideLayout274.xml"/><Relationship Id="rId46" Type="http://schemas.openxmlformats.org/officeDocument/2006/relationships/slideLayout" Target="../slideLayouts/slideLayout282.xml"/><Relationship Id="rId59" Type="http://schemas.openxmlformats.org/officeDocument/2006/relationships/slideLayout" Target="../slideLayouts/slideLayout295.xml"/><Relationship Id="rId67" Type="http://schemas.openxmlformats.org/officeDocument/2006/relationships/slideLayout" Target="../slideLayouts/slideLayout303.xml"/><Relationship Id="rId20" Type="http://schemas.openxmlformats.org/officeDocument/2006/relationships/slideLayout" Target="../slideLayouts/slideLayout256.xml"/><Relationship Id="rId41" Type="http://schemas.openxmlformats.org/officeDocument/2006/relationships/slideLayout" Target="../slideLayouts/slideLayout277.xml"/><Relationship Id="rId54" Type="http://schemas.openxmlformats.org/officeDocument/2006/relationships/slideLayout" Target="../slideLayouts/slideLayout290.xml"/><Relationship Id="rId62" Type="http://schemas.openxmlformats.org/officeDocument/2006/relationships/slideLayout" Target="../slideLayouts/slideLayout298.xml"/><Relationship Id="rId70" Type="http://schemas.openxmlformats.org/officeDocument/2006/relationships/slideLayout" Target="../slideLayouts/slideLayout306.xml"/><Relationship Id="rId75" Type="http://schemas.openxmlformats.org/officeDocument/2006/relationships/slideLayout" Target="../slideLayouts/slideLayout311.xml"/><Relationship Id="rId83" Type="http://schemas.openxmlformats.org/officeDocument/2006/relationships/theme" Target="../theme/theme5.xml"/><Relationship Id="rId88" Type="http://schemas.openxmlformats.org/officeDocument/2006/relationships/image" Target="../media/image13.png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5" Type="http://schemas.openxmlformats.org/officeDocument/2006/relationships/slideLayout" Target="../slideLayouts/slideLayout251.xml"/><Relationship Id="rId23" Type="http://schemas.openxmlformats.org/officeDocument/2006/relationships/slideLayout" Target="../slideLayouts/slideLayout259.xml"/><Relationship Id="rId28" Type="http://schemas.openxmlformats.org/officeDocument/2006/relationships/slideLayout" Target="../slideLayouts/slideLayout264.xml"/><Relationship Id="rId36" Type="http://schemas.openxmlformats.org/officeDocument/2006/relationships/slideLayout" Target="../slideLayouts/slideLayout272.xml"/><Relationship Id="rId49" Type="http://schemas.openxmlformats.org/officeDocument/2006/relationships/slideLayout" Target="../slideLayouts/slideLayout285.xml"/><Relationship Id="rId57" Type="http://schemas.openxmlformats.org/officeDocument/2006/relationships/slideLayout" Target="../slideLayouts/slideLayout293.xml"/><Relationship Id="rId10" Type="http://schemas.openxmlformats.org/officeDocument/2006/relationships/slideLayout" Target="../slideLayouts/slideLayout246.xml"/><Relationship Id="rId31" Type="http://schemas.openxmlformats.org/officeDocument/2006/relationships/slideLayout" Target="../slideLayouts/slideLayout267.xml"/><Relationship Id="rId44" Type="http://schemas.openxmlformats.org/officeDocument/2006/relationships/slideLayout" Target="../slideLayouts/slideLayout280.xml"/><Relationship Id="rId52" Type="http://schemas.openxmlformats.org/officeDocument/2006/relationships/slideLayout" Target="../slideLayouts/slideLayout288.xml"/><Relationship Id="rId60" Type="http://schemas.openxmlformats.org/officeDocument/2006/relationships/slideLayout" Target="../slideLayouts/slideLayout296.xml"/><Relationship Id="rId65" Type="http://schemas.openxmlformats.org/officeDocument/2006/relationships/slideLayout" Target="../slideLayouts/slideLayout301.xml"/><Relationship Id="rId73" Type="http://schemas.openxmlformats.org/officeDocument/2006/relationships/slideLayout" Target="../slideLayouts/slideLayout309.xml"/><Relationship Id="rId78" Type="http://schemas.openxmlformats.org/officeDocument/2006/relationships/slideLayout" Target="../slideLayouts/slideLayout314.xml"/><Relationship Id="rId81" Type="http://schemas.openxmlformats.org/officeDocument/2006/relationships/slideLayout" Target="../slideLayouts/slideLayout317.xml"/><Relationship Id="rId86" Type="http://schemas.openxmlformats.org/officeDocument/2006/relationships/oleObject" Target="../embeddings/oleObject8.bin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49.xml"/><Relationship Id="rId18" Type="http://schemas.openxmlformats.org/officeDocument/2006/relationships/slideLayout" Target="../slideLayouts/slideLayout254.xml"/><Relationship Id="rId39" Type="http://schemas.openxmlformats.org/officeDocument/2006/relationships/slideLayout" Target="../slideLayouts/slideLayout275.xml"/><Relationship Id="rId34" Type="http://schemas.openxmlformats.org/officeDocument/2006/relationships/slideLayout" Target="../slideLayouts/slideLayout270.xml"/><Relationship Id="rId50" Type="http://schemas.openxmlformats.org/officeDocument/2006/relationships/slideLayout" Target="../slideLayouts/slideLayout286.xml"/><Relationship Id="rId55" Type="http://schemas.openxmlformats.org/officeDocument/2006/relationships/slideLayout" Target="../slideLayouts/slideLayout291.xml"/><Relationship Id="rId76" Type="http://schemas.openxmlformats.org/officeDocument/2006/relationships/slideLayout" Target="../slideLayouts/slideLayout312.xml"/><Relationship Id="rId7" Type="http://schemas.openxmlformats.org/officeDocument/2006/relationships/slideLayout" Target="../slideLayouts/slideLayout243.xml"/><Relationship Id="rId71" Type="http://schemas.openxmlformats.org/officeDocument/2006/relationships/slideLayout" Target="../slideLayouts/slideLayout307.xml"/><Relationship Id="rId2" Type="http://schemas.openxmlformats.org/officeDocument/2006/relationships/slideLayout" Target="../slideLayouts/slideLayout238.xml"/><Relationship Id="rId29" Type="http://schemas.openxmlformats.org/officeDocument/2006/relationships/slideLayout" Target="../slideLayouts/slideLayout265.xml"/><Relationship Id="rId24" Type="http://schemas.openxmlformats.org/officeDocument/2006/relationships/slideLayout" Target="../slideLayouts/slideLayout260.xml"/><Relationship Id="rId40" Type="http://schemas.openxmlformats.org/officeDocument/2006/relationships/slideLayout" Target="../slideLayouts/slideLayout276.xml"/><Relationship Id="rId45" Type="http://schemas.openxmlformats.org/officeDocument/2006/relationships/slideLayout" Target="../slideLayouts/slideLayout281.xml"/><Relationship Id="rId66" Type="http://schemas.openxmlformats.org/officeDocument/2006/relationships/slideLayout" Target="../slideLayouts/slideLayout302.xml"/><Relationship Id="rId87" Type="http://schemas.openxmlformats.org/officeDocument/2006/relationships/image" Target="../media/image12.emf"/><Relationship Id="rId61" Type="http://schemas.openxmlformats.org/officeDocument/2006/relationships/slideLayout" Target="../slideLayouts/slideLayout297.xml"/><Relationship Id="rId82" Type="http://schemas.openxmlformats.org/officeDocument/2006/relationships/slideLayout" Target="../slideLayouts/slideLayout318.xml"/><Relationship Id="rId19" Type="http://schemas.openxmlformats.org/officeDocument/2006/relationships/slideLayout" Target="../slideLayouts/slideLayout255.xml"/></Relationships>
</file>

<file path=ppt/slideMasters/_rels/slideMaster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44.xml"/><Relationship Id="rId21" Type="http://schemas.openxmlformats.org/officeDocument/2006/relationships/slideLayout" Target="../slideLayouts/slideLayout339.xml"/><Relationship Id="rId42" Type="http://schemas.openxmlformats.org/officeDocument/2006/relationships/slideLayout" Target="../slideLayouts/slideLayout360.xml"/><Relationship Id="rId47" Type="http://schemas.openxmlformats.org/officeDocument/2006/relationships/slideLayout" Target="../slideLayouts/slideLayout365.xml"/><Relationship Id="rId63" Type="http://schemas.openxmlformats.org/officeDocument/2006/relationships/slideLayout" Target="../slideLayouts/slideLayout381.xml"/><Relationship Id="rId68" Type="http://schemas.openxmlformats.org/officeDocument/2006/relationships/slideLayout" Target="../slideLayouts/slideLayout386.xml"/><Relationship Id="rId84" Type="http://schemas.openxmlformats.org/officeDocument/2006/relationships/slideLayout" Target="../slideLayouts/slideLayout402.xml"/><Relationship Id="rId89" Type="http://schemas.openxmlformats.org/officeDocument/2006/relationships/image" Target="../media/image12.emf"/><Relationship Id="rId16" Type="http://schemas.openxmlformats.org/officeDocument/2006/relationships/slideLayout" Target="../slideLayouts/slideLayout334.xml"/><Relationship Id="rId11" Type="http://schemas.openxmlformats.org/officeDocument/2006/relationships/slideLayout" Target="../slideLayouts/slideLayout329.xml"/><Relationship Id="rId32" Type="http://schemas.openxmlformats.org/officeDocument/2006/relationships/slideLayout" Target="../slideLayouts/slideLayout350.xml"/><Relationship Id="rId37" Type="http://schemas.openxmlformats.org/officeDocument/2006/relationships/slideLayout" Target="../slideLayouts/slideLayout355.xml"/><Relationship Id="rId53" Type="http://schemas.openxmlformats.org/officeDocument/2006/relationships/slideLayout" Target="../slideLayouts/slideLayout371.xml"/><Relationship Id="rId58" Type="http://schemas.openxmlformats.org/officeDocument/2006/relationships/slideLayout" Target="../slideLayouts/slideLayout376.xml"/><Relationship Id="rId74" Type="http://schemas.openxmlformats.org/officeDocument/2006/relationships/slideLayout" Target="../slideLayouts/slideLayout392.xml"/><Relationship Id="rId79" Type="http://schemas.openxmlformats.org/officeDocument/2006/relationships/slideLayout" Target="../slideLayouts/slideLayout397.xml"/><Relationship Id="rId5" Type="http://schemas.openxmlformats.org/officeDocument/2006/relationships/slideLayout" Target="../slideLayouts/slideLayout323.xml"/><Relationship Id="rId90" Type="http://schemas.openxmlformats.org/officeDocument/2006/relationships/image" Target="../media/image13.png"/><Relationship Id="rId14" Type="http://schemas.openxmlformats.org/officeDocument/2006/relationships/slideLayout" Target="../slideLayouts/slideLayout332.xml"/><Relationship Id="rId22" Type="http://schemas.openxmlformats.org/officeDocument/2006/relationships/slideLayout" Target="../slideLayouts/slideLayout340.xml"/><Relationship Id="rId27" Type="http://schemas.openxmlformats.org/officeDocument/2006/relationships/slideLayout" Target="../slideLayouts/slideLayout345.xml"/><Relationship Id="rId30" Type="http://schemas.openxmlformats.org/officeDocument/2006/relationships/slideLayout" Target="../slideLayouts/slideLayout348.xml"/><Relationship Id="rId35" Type="http://schemas.openxmlformats.org/officeDocument/2006/relationships/slideLayout" Target="../slideLayouts/slideLayout353.xml"/><Relationship Id="rId43" Type="http://schemas.openxmlformats.org/officeDocument/2006/relationships/slideLayout" Target="../slideLayouts/slideLayout361.xml"/><Relationship Id="rId48" Type="http://schemas.openxmlformats.org/officeDocument/2006/relationships/slideLayout" Target="../slideLayouts/slideLayout366.xml"/><Relationship Id="rId56" Type="http://schemas.openxmlformats.org/officeDocument/2006/relationships/slideLayout" Target="../slideLayouts/slideLayout374.xml"/><Relationship Id="rId64" Type="http://schemas.openxmlformats.org/officeDocument/2006/relationships/slideLayout" Target="../slideLayouts/slideLayout382.xml"/><Relationship Id="rId69" Type="http://schemas.openxmlformats.org/officeDocument/2006/relationships/slideLayout" Target="../slideLayouts/slideLayout387.xml"/><Relationship Id="rId77" Type="http://schemas.openxmlformats.org/officeDocument/2006/relationships/slideLayout" Target="../slideLayouts/slideLayout395.xml"/><Relationship Id="rId8" Type="http://schemas.openxmlformats.org/officeDocument/2006/relationships/slideLayout" Target="../slideLayouts/slideLayout326.xml"/><Relationship Id="rId51" Type="http://schemas.openxmlformats.org/officeDocument/2006/relationships/slideLayout" Target="../slideLayouts/slideLayout369.xml"/><Relationship Id="rId72" Type="http://schemas.openxmlformats.org/officeDocument/2006/relationships/slideLayout" Target="../slideLayouts/slideLayout390.xml"/><Relationship Id="rId80" Type="http://schemas.openxmlformats.org/officeDocument/2006/relationships/slideLayout" Target="../slideLayouts/slideLayout398.xml"/><Relationship Id="rId85" Type="http://schemas.openxmlformats.org/officeDocument/2006/relationships/theme" Target="../theme/theme6.xml"/><Relationship Id="rId3" Type="http://schemas.openxmlformats.org/officeDocument/2006/relationships/slideLayout" Target="../slideLayouts/slideLayout321.xml"/><Relationship Id="rId12" Type="http://schemas.openxmlformats.org/officeDocument/2006/relationships/slideLayout" Target="../slideLayouts/slideLayout330.xml"/><Relationship Id="rId17" Type="http://schemas.openxmlformats.org/officeDocument/2006/relationships/slideLayout" Target="../slideLayouts/slideLayout335.xml"/><Relationship Id="rId25" Type="http://schemas.openxmlformats.org/officeDocument/2006/relationships/slideLayout" Target="../slideLayouts/slideLayout343.xml"/><Relationship Id="rId33" Type="http://schemas.openxmlformats.org/officeDocument/2006/relationships/slideLayout" Target="../slideLayouts/slideLayout351.xml"/><Relationship Id="rId38" Type="http://schemas.openxmlformats.org/officeDocument/2006/relationships/slideLayout" Target="../slideLayouts/slideLayout356.xml"/><Relationship Id="rId46" Type="http://schemas.openxmlformats.org/officeDocument/2006/relationships/slideLayout" Target="../slideLayouts/slideLayout364.xml"/><Relationship Id="rId59" Type="http://schemas.openxmlformats.org/officeDocument/2006/relationships/slideLayout" Target="../slideLayouts/slideLayout377.xml"/><Relationship Id="rId67" Type="http://schemas.openxmlformats.org/officeDocument/2006/relationships/slideLayout" Target="../slideLayouts/slideLayout385.xml"/><Relationship Id="rId20" Type="http://schemas.openxmlformats.org/officeDocument/2006/relationships/slideLayout" Target="../slideLayouts/slideLayout338.xml"/><Relationship Id="rId41" Type="http://schemas.openxmlformats.org/officeDocument/2006/relationships/slideLayout" Target="../slideLayouts/slideLayout359.xml"/><Relationship Id="rId54" Type="http://schemas.openxmlformats.org/officeDocument/2006/relationships/slideLayout" Target="../slideLayouts/slideLayout372.xml"/><Relationship Id="rId62" Type="http://schemas.openxmlformats.org/officeDocument/2006/relationships/slideLayout" Target="../slideLayouts/slideLayout380.xml"/><Relationship Id="rId70" Type="http://schemas.openxmlformats.org/officeDocument/2006/relationships/slideLayout" Target="../slideLayouts/slideLayout388.xml"/><Relationship Id="rId75" Type="http://schemas.openxmlformats.org/officeDocument/2006/relationships/slideLayout" Target="../slideLayouts/slideLayout393.xml"/><Relationship Id="rId83" Type="http://schemas.openxmlformats.org/officeDocument/2006/relationships/slideLayout" Target="../slideLayouts/slideLayout401.xml"/><Relationship Id="rId88" Type="http://schemas.openxmlformats.org/officeDocument/2006/relationships/oleObject" Target="../embeddings/oleObject10.bin"/><Relationship Id="rId91" Type="http://schemas.openxmlformats.org/officeDocument/2006/relationships/image" Target="../media/image14.png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15" Type="http://schemas.openxmlformats.org/officeDocument/2006/relationships/slideLayout" Target="../slideLayouts/slideLayout333.xml"/><Relationship Id="rId23" Type="http://schemas.openxmlformats.org/officeDocument/2006/relationships/slideLayout" Target="../slideLayouts/slideLayout341.xml"/><Relationship Id="rId28" Type="http://schemas.openxmlformats.org/officeDocument/2006/relationships/slideLayout" Target="../slideLayouts/slideLayout346.xml"/><Relationship Id="rId36" Type="http://schemas.openxmlformats.org/officeDocument/2006/relationships/slideLayout" Target="../slideLayouts/slideLayout354.xml"/><Relationship Id="rId49" Type="http://schemas.openxmlformats.org/officeDocument/2006/relationships/slideLayout" Target="../slideLayouts/slideLayout367.xml"/><Relationship Id="rId57" Type="http://schemas.openxmlformats.org/officeDocument/2006/relationships/slideLayout" Target="../slideLayouts/slideLayout375.xml"/><Relationship Id="rId10" Type="http://schemas.openxmlformats.org/officeDocument/2006/relationships/slideLayout" Target="../slideLayouts/slideLayout328.xml"/><Relationship Id="rId31" Type="http://schemas.openxmlformats.org/officeDocument/2006/relationships/slideLayout" Target="../slideLayouts/slideLayout349.xml"/><Relationship Id="rId44" Type="http://schemas.openxmlformats.org/officeDocument/2006/relationships/slideLayout" Target="../slideLayouts/slideLayout362.xml"/><Relationship Id="rId52" Type="http://schemas.openxmlformats.org/officeDocument/2006/relationships/slideLayout" Target="../slideLayouts/slideLayout370.xml"/><Relationship Id="rId60" Type="http://schemas.openxmlformats.org/officeDocument/2006/relationships/slideLayout" Target="../slideLayouts/slideLayout378.xml"/><Relationship Id="rId65" Type="http://schemas.openxmlformats.org/officeDocument/2006/relationships/slideLayout" Target="../slideLayouts/slideLayout383.xml"/><Relationship Id="rId73" Type="http://schemas.openxmlformats.org/officeDocument/2006/relationships/slideLayout" Target="../slideLayouts/slideLayout391.xml"/><Relationship Id="rId78" Type="http://schemas.openxmlformats.org/officeDocument/2006/relationships/slideLayout" Target="../slideLayouts/slideLayout396.xml"/><Relationship Id="rId81" Type="http://schemas.openxmlformats.org/officeDocument/2006/relationships/slideLayout" Target="../slideLayouts/slideLayout399.xml"/><Relationship Id="rId86" Type="http://schemas.openxmlformats.org/officeDocument/2006/relationships/tags" Target="../tags/tag25.xml"/><Relationship Id="rId4" Type="http://schemas.openxmlformats.org/officeDocument/2006/relationships/slideLayout" Target="../slideLayouts/slideLayout322.xml"/><Relationship Id="rId9" Type="http://schemas.openxmlformats.org/officeDocument/2006/relationships/slideLayout" Target="../slideLayouts/slideLayout327.xml"/><Relationship Id="rId13" Type="http://schemas.openxmlformats.org/officeDocument/2006/relationships/slideLayout" Target="../slideLayouts/slideLayout331.xml"/><Relationship Id="rId18" Type="http://schemas.openxmlformats.org/officeDocument/2006/relationships/slideLayout" Target="../slideLayouts/slideLayout336.xml"/><Relationship Id="rId39" Type="http://schemas.openxmlformats.org/officeDocument/2006/relationships/slideLayout" Target="../slideLayouts/slideLayout357.xml"/><Relationship Id="rId34" Type="http://schemas.openxmlformats.org/officeDocument/2006/relationships/slideLayout" Target="../slideLayouts/slideLayout352.xml"/><Relationship Id="rId50" Type="http://schemas.openxmlformats.org/officeDocument/2006/relationships/slideLayout" Target="../slideLayouts/slideLayout368.xml"/><Relationship Id="rId55" Type="http://schemas.openxmlformats.org/officeDocument/2006/relationships/slideLayout" Target="../slideLayouts/slideLayout373.xml"/><Relationship Id="rId76" Type="http://schemas.openxmlformats.org/officeDocument/2006/relationships/slideLayout" Target="../slideLayouts/slideLayout394.xml"/><Relationship Id="rId7" Type="http://schemas.openxmlformats.org/officeDocument/2006/relationships/slideLayout" Target="../slideLayouts/slideLayout325.xml"/><Relationship Id="rId71" Type="http://schemas.openxmlformats.org/officeDocument/2006/relationships/slideLayout" Target="../slideLayouts/slideLayout389.xml"/><Relationship Id="rId2" Type="http://schemas.openxmlformats.org/officeDocument/2006/relationships/slideLayout" Target="../slideLayouts/slideLayout320.xml"/><Relationship Id="rId29" Type="http://schemas.openxmlformats.org/officeDocument/2006/relationships/slideLayout" Target="../slideLayouts/slideLayout347.xml"/><Relationship Id="rId24" Type="http://schemas.openxmlformats.org/officeDocument/2006/relationships/slideLayout" Target="../slideLayouts/slideLayout342.xml"/><Relationship Id="rId40" Type="http://schemas.openxmlformats.org/officeDocument/2006/relationships/slideLayout" Target="../slideLayouts/slideLayout358.xml"/><Relationship Id="rId45" Type="http://schemas.openxmlformats.org/officeDocument/2006/relationships/slideLayout" Target="../slideLayouts/slideLayout363.xml"/><Relationship Id="rId66" Type="http://schemas.openxmlformats.org/officeDocument/2006/relationships/slideLayout" Target="../slideLayouts/slideLayout384.xml"/><Relationship Id="rId87" Type="http://schemas.openxmlformats.org/officeDocument/2006/relationships/tags" Target="../tags/tag26.xml"/><Relationship Id="rId61" Type="http://schemas.openxmlformats.org/officeDocument/2006/relationships/slideLayout" Target="../slideLayouts/slideLayout379.xml"/><Relationship Id="rId82" Type="http://schemas.openxmlformats.org/officeDocument/2006/relationships/slideLayout" Target="../slideLayouts/slideLayout400.xml"/><Relationship Id="rId19" Type="http://schemas.openxmlformats.org/officeDocument/2006/relationships/slideLayout" Target="../slideLayouts/slideLayout33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0.xml"/><Relationship Id="rId3" Type="http://schemas.openxmlformats.org/officeDocument/2006/relationships/slideLayout" Target="../slideLayouts/slideLayout405.xml"/><Relationship Id="rId7" Type="http://schemas.openxmlformats.org/officeDocument/2006/relationships/slideLayout" Target="../slideLayouts/slideLayout409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04.xml"/><Relationship Id="rId1" Type="http://schemas.openxmlformats.org/officeDocument/2006/relationships/slideLayout" Target="../slideLayouts/slideLayout403.xml"/><Relationship Id="rId6" Type="http://schemas.openxmlformats.org/officeDocument/2006/relationships/slideLayout" Target="../slideLayouts/slideLayout408.xml"/><Relationship Id="rId11" Type="http://schemas.openxmlformats.org/officeDocument/2006/relationships/slideLayout" Target="../slideLayouts/slideLayout413.xml"/><Relationship Id="rId5" Type="http://schemas.openxmlformats.org/officeDocument/2006/relationships/slideLayout" Target="../slideLayouts/slideLayout407.xml"/><Relationship Id="rId10" Type="http://schemas.openxmlformats.org/officeDocument/2006/relationships/slideLayout" Target="../slideLayouts/slideLayout412.xml"/><Relationship Id="rId4" Type="http://schemas.openxmlformats.org/officeDocument/2006/relationships/slideLayout" Target="../slideLayouts/slideLayout406.xml"/><Relationship Id="rId9" Type="http://schemas.openxmlformats.org/officeDocument/2006/relationships/slideLayout" Target="../slideLayouts/slideLayout4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87B9EB71-47EB-44EF-B5AE-6ADBD827BE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598101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3" imgW="501" imgH="502" progId="TCLayout.ActiveDocument.1">
                  <p:embed/>
                </p:oleObj>
              </mc:Choice>
              <mc:Fallback>
                <p:oleObj name="Diapositive think-cell" r:id="rId43" imgW="501" imgH="502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87B9EB71-47EB-44EF-B5AE-6ADBD827BE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4CB463F-CC8C-463D-861F-823D0EE8274D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44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779293-302C-4825-993D-B2A274C5FDFB}" type="datetimeFigureOut">
              <a:rPr lang="fr-FR" smtClean="0"/>
              <a:pPr/>
              <a:t>09/11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C63AFC-D0AB-4E52-BB1A-8A7EC24E4161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6454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9" r:id="rId12"/>
    <p:sldLayoutId id="2147483673" r:id="rId13"/>
    <p:sldLayoutId id="2147483674" r:id="rId14"/>
    <p:sldLayoutId id="2147483676" r:id="rId15"/>
    <p:sldLayoutId id="2147483680" r:id="rId16"/>
    <p:sldLayoutId id="2147483681" r:id="rId17"/>
    <p:sldLayoutId id="2147483698" r:id="rId18"/>
    <p:sldLayoutId id="2147483726" r:id="rId19"/>
    <p:sldLayoutId id="2147483684" r:id="rId20"/>
    <p:sldLayoutId id="2147483685" r:id="rId21"/>
    <p:sldLayoutId id="2147483682" r:id="rId22"/>
    <p:sldLayoutId id="2147483678" r:id="rId23"/>
    <p:sldLayoutId id="2147483679" r:id="rId24"/>
    <p:sldLayoutId id="2147483697" r:id="rId25"/>
    <p:sldLayoutId id="2147483677" r:id="rId26"/>
    <p:sldLayoutId id="2147483688" r:id="rId27"/>
    <p:sldLayoutId id="2147483689" r:id="rId28"/>
    <p:sldLayoutId id="2147483690" r:id="rId29"/>
    <p:sldLayoutId id="2147483691" r:id="rId30"/>
    <p:sldLayoutId id="2147483693" r:id="rId31"/>
    <p:sldLayoutId id="2147483696" r:id="rId32"/>
    <p:sldLayoutId id="2147483732" r:id="rId33"/>
    <p:sldLayoutId id="2147483737" r:id="rId34"/>
    <p:sldLayoutId id="2147483902" r:id="rId35"/>
    <p:sldLayoutId id="2147483903" r:id="rId36"/>
    <p:sldLayoutId id="2147484156" r:id="rId37"/>
    <p:sldLayoutId id="2147484157" r:id="rId38"/>
    <p:sldLayoutId id="2147484159" r:id="rId3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48E46145-83BE-44F4-A58E-8EC6B29E88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0"/>
            </p:custDataLst>
            <p:extLst>
              <p:ext uri="{D42A27DB-BD31-4B8C-83A1-F6EECF244321}">
                <p14:modId xmlns:p14="http://schemas.microsoft.com/office/powerpoint/2010/main" val="831617856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2" imgW="473" imgH="473" progId="TCLayout.ActiveDocument.1">
                  <p:embed/>
                </p:oleObj>
              </mc:Choice>
              <mc:Fallback>
                <p:oleObj name="Diapositive think-cell" r:id="rId62" imgW="473" imgH="473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48E46145-83BE-44F4-A58E-8EC6B29E8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1A6866-D889-4AB5-8145-F51EE817811E}"/>
              </a:ext>
            </a:extLst>
          </p:cNvPr>
          <p:cNvSpPr/>
          <p:nvPr userDrawn="1">
            <p:custDataLst>
              <p:tags r:id="rId61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100" b="0" i="0" baseline="0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19204"/>
            <a:ext cx="77724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C64DDAAB-51AE-C542-B2D3-39CDE5D6EEF1}"/>
              </a:ext>
            </a:extLst>
          </p:cNvPr>
          <p:cNvSpPr txBox="1">
            <a:spLocks/>
          </p:cNvSpPr>
          <p:nvPr userDrawn="1"/>
        </p:nvSpPr>
        <p:spPr>
          <a:xfrm>
            <a:off x="8418902" y="6338433"/>
            <a:ext cx="104568" cy="26674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900">
                <a:latin typeface="Segoe UI Light" panose="020B0502040204020203" pitchFamily="34" charset="0"/>
              </a:rPr>
              <a:pPr algn="ctr"/>
              <a:t>‹N°›</a:t>
            </a:fld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0" name="Oval 9">
            <a:extLst>
              <a:ext uri="{FF2B5EF4-FFF2-40B4-BE49-F238E27FC236}">
                <a16:creationId xmlns:a16="http://schemas.microsoft.com/office/drawing/2014/main" id="{ECE31B6E-86E3-694A-A8CC-84D94F47661D}"/>
              </a:ext>
            </a:extLst>
          </p:cNvPr>
          <p:cNvSpPr/>
          <p:nvPr userDrawn="1"/>
        </p:nvSpPr>
        <p:spPr>
          <a:xfrm>
            <a:off x="8346238" y="6336449"/>
            <a:ext cx="249900" cy="270725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2" name="Oval 15">
            <a:extLst>
              <a:ext uri="{FF2B5EF4-FFF2-40B4-BE49-F238E27FC236}">
                <a16:creationId xmlns:a16="http://schemas.microsoft.com/office/drawing/2014/main" id="{C06C0017-609B-0E4D-AF6A-EE6375F1FAE3}"/>
              </a:ext>
            </a:extLst>
          </p:cNvPr>
          <p:cNvSpPr/>
          <p:nvPr userDrawn="1"/>
        </p:nvSpPr>
        <p:spPr>
          <a:xfrm>
            <a:off x="8019077" y="6336449"/>
            <a:ext cx="249900" cy="270725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67B3CA1F-2DAF-4842-B0F6-FB2FAE7AFA26}"/>
              </a:ext>
            </a:extLst>
          </p:cNvPr>
          <p:cNvSpPr/>
          <p:nvPr userDrawn="1"/>
        </p:nvSpPr>
        <p:spPr>
          <a:xfrm rot="2700000">
            <a:off x="8124904" y="6438016"/>
            <a:ext cx="73220" cy="67588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4" name="Oval 13">
            <a:extLst>
              <a:ext uri="{FF2B5EF4-FFF2-40B4-BE49-F238E27FC236}">
                <a16:creationId xmlns:a16="http://schemas.microsoft.com/office/drawing/2014/main" id="{16428C32-A985-884A-A048-9D4E4B22C4EB}"/>
              </a:ext>
            </a:extLst>
          </p:cNvPr>
          <p:cNvSpPr/>
          <p:nvPr userDrawn="1"/>
        </p:nvSpPr>
        <p:spPr>
          <a:xfrm rot="10800000">
            <a:off x="8673397" y="6336449"/>
            <a:ext cx="249900" cy="270725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6BCE5F22-3E68-8D4C-9923-D2C3180609EB}"/>
              </a:ext>
            </a:extLst>
          </p:cNvPr>
          <p:cNvSpPr/>
          <p:nvPr userDrawn="1"/>
        </p:nvSpPr>
        <p:spPr>
          <a:xfrm rot="13500000">
            <a:off x="8744248" y="6438016"/>
            <a:ext cx="73220" cy="67588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40" name="Action Button: Forward or Next 26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4D7BDCA1-EBAD-3A47-BD47-1F2D5CE315E3}"/>
              </a:ext>
            </a:extLst>
          </p:cNvPr>
          <p:cNvSpPr/>
          <p:nvPr userDrawn="1"/>
        </p:nvSpPr>
        <p:spPr>
          <a:xfrm>
            <a:off x="8652989" y="6310814"/>
            <a:ext cx="301752" cy="326898"/>
          </a:xfrm>
          <a:prstGeom prst="actionButtonForwardNex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>
              <a:latin typeface="Segoe UI Light" panose="020B0502040204020203" pitchFamily="34" charset="0"/>
            </a:endParaRPr>
          </a:p>
        </p:txBody>
      </p:sp>
      <p:sp>
        <p:nvSpPr>
          <p:cNvPr id="41" name="Action Button: Back or Previous 27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C3CE824C-65AD-064D-A62A-BC4AA826892A}"/>
              </a:ext>
            </a:extLst>
          </p:cNvPr>
          <p:cNvSpPr/>
          <p:nvPr userDrawn="1"/>
        </p:nvSpPr>
        <p:spPr>
          <a:xfrm>
            <a:off x="7995150" y="6304498"/>
            <a:ext cx="301752" cy="326898"/>
          </a:xfrm>
          <a:prstGeom prst="actionButtonBackPrevious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>
              <a:latin typeface="Segoe UI Light" panose="020B0502040204020203" pitchFamily="34" charset="0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B0381DB-CE3B-F64D-BAD7-DBA032476BD1}"/>
              </a:ext>
            </a:extLst>
          </p:cNvPr>
          <p:cNvSpPr txBox="1"/>
          <p:nvPr/>
        </p:nvSpPr>
        <p:spPr>
          <a:xfrm>
            <a:off x="1620598" y="6598626"/>
            <a:ext cx="589170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23" b="0" i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© 2020 – IDFM - ISN</a:t>
            </a:r>
            <a:endParaRPr lang="fr-FR" sz="923" b="0" i="0" kern="1200" dirty="0">
              <a:solidFill>
                <a:schemeClr val="bg1">
                  <a:lumMod val="6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8DFDAEB-6D48-4DEF-87A2-1F4D2EEA370E}"/>
              </a:ext>
            </a:extLst>
          </p:cNvPr>
          <p:cNvPicPr>
            <a:picLocks noChangeAspect="1"/>
          </p:cNvPicPr>
          <p:nvPr userDrawn="1"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151" y="6369749"/>
            <a:ext cx="459448" cy="47780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2B5996A-E8E1-48D6-93D1-FEA4F3E29FB5}"/>
              </a:ext>
            </a:extLst>
          </p:cNvPr>
          <p:cNvPicPr>
            <a:picLocks noChangeAspect="1"/>
          </p:cNvPicPr>
          <p:nvPr userDrawn="1"/>
        </p:nvPicPr>
        <p:blipFill>
          <a:blip r:embed="rId65"/>
          <a:stretch>
            <a:fillRect/>
          </a:stretch>
        </p:blipFill>
        <p:spPr>
          <a:xfrm>
            <a:off x="76641" y="6432990"/>
            <a:ext cx="1087779" cy="344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811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  <p:sldLayoutId id="2147483770" r:id="rId30"/>
    <p:sldLayoutId id="2147483771" r:id="rId31"/>
    <p:sldLayoutId id="2147483772" r:id="rId32"/>
    <p:sldLayoutId id="2147483773" r:id="rId33"/>
    <p:sldLayoutId id="2147483774" r:id="rId34"/>
    <p:sldLayoutId id="2147483775" r:id="rId35"/>
    <p:sldLayoutId id="2147483776" r:id="rId36"/>
    <p:sldLayoutId id="2147483777" r:id="rId37"/>
    <p:sldLayoutId id="2147483778" r:id="rId38"/>
    <p:sldLayoutId id="2147483779" r:id="rId39"/>
    <p:sldLayoutId id="2147483780" r:id="rId40"/>
    <p:sldLayoutId id="2147483781" r:id="rId41"/>
    <p:sldLayoutId id="2147483782" r:id="rId42"/>
    <p:sldLayoutId id="2147483783" r:id="rId43"/>
    <p:sldLayoutId id="2147483784" r:id="rId44"/>
    <p:sldLayoutId id="2147483785" r:id="rId45"/>
    <p:sldLayoutId id="2147483786" r:id="rId46"/>
    <p:sldLayoutId id="2147483787" r:id="rId47"/>
    <p:sldLayoutId id="2147483788" r:id="rId48"/>
    <p:sldLayoutId id="2147483789" r:id="rId49"/>
    <p:sldLayoutId id="2147483790" r:id="rId50"/>
    <p:sldLayoutId id="2147483791" r:id="rId51"/>
    <p:sldLayoutId id="2147483792" r:id="rId52"/>
    <p:sldLayoutId id="2147483793" r:id="rId53"/>
    <p:sldLayoutId id="2147483794" r:id="rId54"/>
    <p:sldLayoutId id="2147483795" r:id="rId55"/>
    <p:sldLayoutId id="2147483796" r:id="rId56"/>
    <p:sldLayoutId id="2147483797" r:id="rId57"/>
    <p:sldLayoutId id="2147483798" r:id="rId58"/>
  </p:sldLayoutIdLst>
  <p:txStyles>
    <p:titleStyle>
      <a:lvl1pPr algn="l" defTabSz="914424" rtl="0" eaLnBrk="1" latinLnBrk="0" hangingPunct="1">
        <a:lnSpc>
          <a:spcPct val="86000"/>
        </a:lnSpc>
        <a:spcBef>
          <a:spcPct val="0"/>
        </a:spcBef>
        <a:buNone/>
        <a:defRPr sz="2100" b="0" i="0" kern="800" spc="-40">
          <a:solidFill>
            <a:schemeClr val="tx1"/>
          </a:solidFill>
          <a:latin typeface="Segoe UI Light" panose="020B0502040204020203" pitchFamily="34" charset="0"/>
          <a:ea typeface="+mj-ea"/>
          <a:cs typeface="+mj-cs"/>
        </a:defRPr>
      </a:lvl1pPr>
    </p:titleStyle>
    <p:bodyStyle>
      <a:lvl1pPr marL="171455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500" b="0" i="0" kern="800" spc="-1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344496" indent="-173042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515951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687404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858860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63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6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4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48E46145-83BE-44F4-A58E-8EC6B29E88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1350343241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1" imgW="473" imgH="473" progId="TCLayout.ActiveDocument.1">
                  <p:embed/>
                </p:oleObj>
              </mc:Choice>
              <mc:Fallback>
                <p:oleObj name="Diapositive think-cell" r:id="rId61" imgW="473" imgH="473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48E46145-83BE-44F4-A58E-8EC6B29E8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1A6866-D889-4AB5-8145-F51EE817811E}"/>
              </a:ext>
            </a:extLst>
          </p:cNvPr>
          <p:cNvSpPr/>
          <p:nvPr userDrawn="1">
            <p:custDataLst>
              <p:tags r:id="rId60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100" b="0" i="0" baseline="0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19204"/>
            <a:ext cx="77724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C64DDAAB-51AE-C542-B2D3-39CDE5D6EEF1}"/>
              </a:ext>
            </a:extLst>
          </p:cNvPr>
          <p:cNvSpPr txBox="1">
            <a:spLocks/>
          </p:cNvSpPr>
          <p:nvPr userDrawn="1"/>
        </p:nvSpPr>
        <p:spPr>
          <a:xfrm>
            <a:off x="8418902" y="6338433"/>
            <a:ext cx="104568" cy="26674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900">
                <a:latin typeface="Segoe UI Light" panose="020B0502040204020203" pitchFamily="34" charset="0"/>
              </a:rPr>
              <a:pPr algn="ctr"/>
              <a:t>‹N°›</a:t>
            </a:fld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0" name="Oval 9">
            <a:extLst>
              <a:ext uri="{FF2B5EF4-FFF2-40B4-BE49-F238E27FC236}">
                <a16:creationId xmlns:a16="http://schemas.microsoft.com/office/drawing/2014/main" id="{ECE31B6E-86E3-694A-A8CC-84D94F47661D}"/>
              </a:ext>
            </a:extLst>
          </p:cNvPr>
          <p:cNvSpPr/>
          <p:nvPr userDrawn="1"/>
        </p:nvSpPr>
        <p:spPr>
          <a:xfrm>
            <a:off x="8346238" y="6336449"/>
            <a:ext cx="249900" cy="270725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2" name="Oval 15">
            <a:extLst>
              <a:ext uri="{FF2B5EF4-FFF2-40B4-BE49-F238E27FC236}">
                <a16:creationId xmlns:a16="http://schemas.microsoft.com/office/drawing/2014/main" id="{C06C0017-609B-0E4D-AF6A-EE6375F1FAE3}"/>
              </a:ext>
            </a:extLst>
          </p:cNvPr>
          <p:cNvSpPr/>
          <p:nvPr userDrawn="1"/>
        </p:nvSpPr>
        <p:spPr>
          <a:xfrm>
            <a:off x="8019077" y="6336449"/>
            <a:ext cx="249900" cy="270725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67B3CA1F-2DAF-4842-B0F6-FB2FAE7AFA26}"/>
              </a:ext>
            </a:extLst>
          </p:cNvPr>
          <p:cNvSpPr/>
          <p:nvPr userDrawn="1"/>
        </p:nvSpPr>
        <p:spPr>
          <a:xfrm rot="2700000">
            <a:off x="8124904" y="6438016"/>
            <a:ext cx="73220" cy="67588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4" name="Oval 13">
            <a:extLst>
              <a:ext uri="{FF2B5EF4-FFF2-40B4-BE49-F238E27FC236}">
                <a16:creationId xmlns:a16="http://schemas.microsoft.com/office/drawing/2014/main" id="{16428C32-A985-884A-A048-9D4E4B22C4EB}"/>
              </a:ext>
            </a:extLst>
          </p:cNvPr>
          <p:cNvSpPr/>
          <p:nvPr userDrawn="1"/>
        </p:nvSpPr>
        <p:spPr>
          <a:xfrm rot="10800000">
            <a:off x="8673397" y="6336449"/>
            <a:ext cx="249900" cy="270725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6BCE5F22-3E68-8D4C-9923-D2C3180609EB}"/>
              </a:ext>
            </a:extLst>
          </p:cNvPr>
          <p:cNvSpPr/>
          <p:nvPr userDrawn="1"/>
        </p:nvSpPr>
        <p:spPr>
          <a:xfrm rot="13500000">
            <a:off x="8744248" y="6438016"/>
            <a:ext cx="73220" cy="67588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40" name="Action Button: Forward or Next 26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4D7BDCA1-EBAD-3A47-BD47-1F2D5CE315E3}"/>
              </a:ext>
            </a:extLst>
          </p:cNvPr>
          <p:cNvSpPr/>
          <p:nvPr userDrawn="1"/>
        </p:nvSpPr>
        <p:spPr>
          <a:xfrm>
            <a:off x="8652989" y="6310814"/>
            <a:ext cx="301752" cy="326898"/>
          </a:xfrm>
          <a:prstGeom prst="actionButtonForwardNex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>
              <a:latin typeface="Segoe UI Light" panose="020B0502040204020203" pitchFamily="34" charset="0"/>
            </a:endParaRPr>
          </a:p>
        </p:txBody>
      </p:sp>
      <p:sp>
        <p:nvSpPr>
          <p:cNvPr id="41" name="Action Button: Back or Previous 27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C3CE824C-65AD-064D-A62A-BC4AA826892A}"/>
              </a:ext>
            </a:extLst>
          </p:cNvPr>
          <p:cNvSpPr/>
          <p:nvPr userDrawn="1"/>
        </p:nvSpPr>
        <p:spPr>
          <a:xfrm>
            <a:off x="7995150" y="6304498"/>
            <a:ext cx="301752" cy="326898"/>
          </a:xfrm>
          <a:prstGeom prst="actionButtonBackPrevious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>
              <a:latin typeface="Segoe UI Light" panose="020B0502040204020203" pitchFamily="34" charset="0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B0381DB-CE3B-F64D-BAD7-DBA032476BD1}"/>
              </a:ext>
            </a:extLst>
          </p:cNvPr>
          <p:cNvSpPr txBox="1"/>
          <p:nvPr/>
        </p:nvSpPr>
        <p:spPr>
          <a:xfrm>
            <a:off x="1620598" y="6598626"/>
            <a:ext cx="589170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23" b="0" i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© 2020 – IDFM - ISN</a:t>
            </a:r>
            <a:endParaRPr lang="fr-FR" sz="923" b="0" i="0" kern="1200">
              <a:solidFill>
                <a:schemeClr val="bg1">
                  <a:lumMod val="6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8DFDAEB-6D48-4DEF-87A2-1F4D2EEA370E}"/>
              </a:ext>
            </a:extLst>
          </p:cNvPr>
          <p:cNvPicPr>
            <a:picLocks noChangeAspect="1"/>
          </p:cNvPicPr>
          <p:nvPr userDrawn="1"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151" y="6369749"/>
            <a:ext cx="459448" cy="47780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2B5996A-E8E1-48D6-93D1-FEA4F3E29FB5}"/>
              </a:ext>
            </a:extLst>
          </p:cNvPr>
          <p:cNvPicPr>
            <a:picLocks noChangeAspect="1"/>
          </p:cNvPicPr>
          <p:nvPr userDrawn="1"/>
        </p:nvPicPr>
        <p:blipFill>
          <a:blip r:embed="rId64"/>
          <a:stretch>
            <a:fillRect/>
          </a:stretch>
        </p:blipFill>
        <p:spPr>
          <a:xfrm>
            <a:off x="76641" y="6432990"/>
            <a:ext cx="1087779" cy="344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329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  <p:sldLayoutId id="2147483873" r:id="rId29"/>
    <p:sldLayoutId id="2147483874" r:id="rId30"/>
    <p:sldLayoutId id="2147483875" r:id="rId31"/>
    <p:sldLayoutId id="2147483876" r:id="rId32"/>
    <p:sldLayoutId id="2147483877" r:id="rId33"/>
    <p:sldLayoutId id="2147483878" r:id="rId34"/>
    <p:sldLayoutId id="2147483879" r:id="rId35"/>
    <p:sldLayoutId id="2147483880" r:id="rId36"/>
    <p:sldLayoutId id="2147483881" r:id="rId37"/>
    <p:sldLayoutId id="2147483882" r:id="rId38"/>
    <p:sldLayoutId id="2147483883" r:id="rId39"/>
    <p:sldLayoutId id="2147483884" r:id="rId40"/>
    <p:sldLayoutId id="2147483885" r:id="rId41"/>
    <p:sldLayoutId id="2147483886" r:id="rId42"/>
    <p:sldLayoutId id="2147483887" r:id="rId43"/>
    <p:sldLayoutId id="2147483888" r:id="rId44"/>
    <p:sldLayoutId id="2147483889" r:id="rId45"/>
    <p:sldLayoutId id="2147483890" r:id="rId46"/>
    <p:sldLayoutId id="2147483891" r:id="rId47"/>
    <p:sldLayoutId id="2147483892" r:id="rId48"/>
    <p:sldLayoutId id="2147483893" r:id="rId49"/>
    <p:sldLayoutId id="2147483894" r:id="rId50"/>
    <p:sldLayoutId id="2147483895" r:id="rId51"/>
    <p:sldLayoutId id="2147483896" r:id="rId52"/>
    <p:sldLayoutId id="2147483897" r:id="rId53"/>
    <p:sldLayoutId id="2147483898" r:id="rId54"/>
    <p:sldLayoutId id="2147483899" r:id="rId55"/>
    <p:sldLayoutId id="2147483900" r:id="rId56"/>
    <p:sldLayoutId id="2147483901" r:id="rId57"/>
  </p:sldLayoutIdLst>
  <p:txStyles>
    <p:titleStyle>
      <a:lvl1pPr algn="l" defTabSz="914424" rtl="0" eaLnBrk="1" latinLnBrk="0" hangingPunct="1">
        <a:lnSpc>
          <a:spcPct val="86000"/>
        </a:lnSpc>
        <a:spcBef>
          <a:spcPct val="0"/>
        </a:spcBef>
        <a:buNone/>
        <a:defRPr sz="2100" b="0" i="0" kern="800" spc="-40">
          <a:solidFill>
            <a:schemeClr val="tx1"/>
          </a:solidFill>
          <a:latin typeface="Segoe UI Light" panose="020B0502040204020203" pitchFamily="34" charset="0"/>
          <a:ea typeface="+mj-ea"/>
          <a:cs typeface="+mj-cs"/>
        </a:defRPr>
      </a:lvl1pPr>
    </p:titleStyle>
    <p:bodyStyle>
      <a:lvl1pPr marL="171455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500" b="0" i="0" kern="800" spc="-1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344496" indent="-173042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515951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687404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858860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63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6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4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48E46145-83BE-44F4-A58E-8EC6B29E88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1010226050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6" imgW="473" imgH="473" progId="TCLayout.ActiveDocument.1">
                  <p:embed/>
                </p:oleObj>
              </mc:Choice>
              <mc:Fallback>
                <p:oleObj name="Diapositive think-cell" r:id="rId86" imgW="473" imgH="473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48E46145-83BE-44F4-A58E-8EC6B29E8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1A6866-D889-4AB5-8145-F51EE817811E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100" b="0" i="0" baseline="0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19204"/>
            <a:ext cx="77724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6" name="Slide Number Placeholder 5">
            <a:extLst>
              <a:ext uri="{FF2B5EF4-FFF2-40B4-BE49-F238E27FC236}">
                <a16:creationId xmlns:a16="http://schemas.microsoft.com/office/drawing/2014/main" id="{C64DDAAB-51AE-C542-B2D3-39CDE5D6EEF1}"/>
              </a:ext>
            </a:extLst>
          </p:cNvPr>
          <p:cNvSpPr txBox="1">
            <a:spLocks/>
          </p:cNvSpPr>
          <p:nvPr userDrawn="1"/>
        </p:nvSpPr>
        <p:spPr>
          <a:xfrm>
            <a:off x="8418902" y="6338433"/>
            <a:ext cx="104568" cy="26674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900">
                <a:latin typeface="Segoe UI Light" panose="020B0502040204020203" pitchFamily="34" charset="0"/>
              </a:rPr>
              <a:pPr algn="ctr"/>
              <a:t>‹N°›</a:t>
            </a:fld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0" name="Oval 9">
            <a:extLst>
              <a:ext uri="{FF2B5EF4-FFF2-40B4-BE49-F238E27FC236}">
                <a16:creationId xmlns:a16="http://schemas.microsoft.com/office/drawing/2014/main" id="{ECE31B6E-86E3-694A-A8CC-84D94F47661D}"/>
              </a:ext>
            </a:extLst>
          </p:cNvPr>
          <p:cNvSpPr/>
          <p:nvPr userDrawn="1"/>
        </p:nvSpPr>
        <p:spPr>
          <a:xfrm>
            <a:off x="8346238" y="6336449"/>
            <a:ext cx="249900" cy="270725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2" name="Oval 15">
            <a:extLst>
              <a:ext uri="{FF2B5EF4-FFF2-40B4-BE49-F238E27FC236}">
                <a16:creationId xmlns:a16="http://schemas.microsoft.com/office/drawing/2014/main" id="{C06C0017-609B-0E4D-AF6A-EE6375F1FAE3}"/>
              </a:ext>
            </a:extLst>
          </p:cNvPr>
          <p:cNvSpPr/>
          <p:nvPr userDrawn="1"/>
        </p:nvSpPr>
        <p:spPr>
          <a:xfrm>
            <a:off x="8019077" y="6336449"/>
            <a:ext cx="249900" cy="270725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3" name="Rectangle 9">
            <a:extLst>
              <a:ext uri="{FF2B5EF4-FFF2-40B4-BE49-F238E27FC236}">
                <a16:creationId xmlns:a16="http://schemas.microsoft.com/office/drawing/2014/main" id="{67B3CA1F-2DAF-4842-B0F6-FB2FAE7AFA26}"/>
              </a:ext>
            </a:extLst>
          </p:cNvPr>
          <p:cNvSpPr/>
          <p:nvPr userDrawn="1"/>
        </p:nvSpPr>
        <p:spPr>
          <a:xfrm rot="2700000">
            <a:off x="8124904" y="6438016"/>
            <a:ext cx="73220" cy="67588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4" name="Oval 13">
            <a:extLst>
              <a:ext uri="{FF2B5EF4-FFF2-40B4-BE49-F238E27FC236}">
                <a16:creationId xmlns:a16="http://schemas.microsoft.com/office/drawing/2014/main" id="{16428C32-A985-884A-A048-9D4E4B22C4EB}"/>
              </a:ext>
            </a:extLst>
          </p:cNvPr>
          <p:cNvSpPr/>
          <p:nvPr userDrawn="1"/>
        </p:nvSpPr>
        <p:spPr>
          <a:xfrm rot="10800000">
            <a:off x="8673397" y="6336449"/>
            <a:ext cx="249900" cy="270725"/>
          </a:xfrm>
          <a:prstGeom prst="ellipse">
            <a:avLst/>
          </a:pr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6BCE5F22-3E68-8D4C-9923-D2C3180609EB}"/>
              </a:ext>
            </a:extLst>
          </p:cNvPr>
          <p:cNvSpPr/>
          <p:nvPr userDrawn="1"/>
        </p:nvSpPr>
        <p:spPr>
          <a:xfrm rot="13500000">
            <a:off x="8744248" y="6438016"/>
            <a:ext cx="73220" cy="67588"/>
          </a:xfrm>
          <a:custGeom>
            <a:avLst/>
            <a:gdLst>
              <a:gd name="connsiteX0" fmla="*/ 0 w 531091"/>
              <a:gd name="connsiteY0" fmla="*/ 0 h 531091"/>
              <a:gd name="connsiteX1" fmla="*/ 531091 w 531091"/>
              <a:gd name="connsiteY1" fmla="*/ 0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0 w 531091"/>
              <a:gd name="connsiteY0" fmla="*/ 0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0" fmla="*/ 0 w 531091"/>
              <a:gd name="connsiteY0" fmla="*/ 0 h 531091"/>
              <a:gd name="connsiteX1" fmla="*/ 230909 w 531091"/>
              <a:gd name="connsiteY1" fmla="*/ 224312 h 531091"/>
              <a:gd name="connsiteX2" fmla="*/ 531091 w 531091"/>
              <a:gd name="connsiteY2" fmla="*/ 531091 h 531091"/>
              <a:gd name="connsiteX3" fmla="*/ 0 w 531091"/>
              <a:gd name="connsiteY3" fmla="*/ 531091 h 531091"/>
              <a:gd name="connsiteX4" fmla="*/ 0 w 531091"/>
              <a:gd name="connsiteY4" fmla="*/ 0 h 531091"/>
              <a:gd name="connsiteX0" fmla="*/ 230909 w 531091"/>
              <a:gd name="connsiteY0" fmla="*/ 224312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343065 w 531091"/>
              <a:gd name="connsiteY0" fmla="*/ 89066 h 531091"/>
              <a:gd name="connsiteX1" fmla="*/ 531091 w 531091"/>
              <a:gd name="connsiteY1" fmla="*/ 531091 h 531091"/>
              <a:gd name="connsiteX2" fmla="*/ 0 w 531091"/>
              <a:gd name="connsiteY2" fmla="*/ 531091 h 531091"/>
              <a:gd name="connsiteX3" fmla="*/ 0 w 531091"/>
              <a:gd name="connsiteY3" fmla="*/ 0 h 531091"/>
              <a:gd name="connsiteX4" fmla="*/ 322349 w 531091"/>
              <a:gd name="connsiteY4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  <a:gd name="connsiteX3" fmla="*/ 322349 w 531091"/>
              <a:gd name="connsiteY3" fmla="*/ 315752 h 531091"/>
              <a:gd name="connsiteX0" fmla="*/ 531091 w 531091"/>
              <a:gd name="connsiteY0" fmla="*/ 531091 h 531091"/>
              <a:gd name="connsiteX1" fmla="*/ 0 w 531091"/>
              <a:gd name="connsiteY1" fmla="*/ 531091 h 531091"/>
              <a:gd name="connsiteX2" fmla="*/ 0 w 531091"/>
              <a:gd name="connsiteY2" fmla="*/ 0 h 531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1091" h="531091">
                <a:moveTo>
                  <a:pt x="531091" y="531091"/>
                </a:moveTo>
                <a:lnTo>
                  <a:pt x="0" y="531091"/>
                </a:lnTo>
                <a:lnTo>
                  <a:pt x="0" y="0"/>
                </a:lnTo>
              </a:path>
            </a:pathLst>
          </a:custGeom>
          <a:noFill/>
          <a:ln w="6350" cmpd="sng">
            <a:solidFill>
              <a:srgbClr val="BFBFB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Segoe UI Light" panose="020B0502040204020203" pitchFamily="34" charset="0"/>
            </a:endParaRPr>
          </a:p>
        </p:txBody>
      </p:sp>
      <p:sp>
        <p:nvSpPr>
          <p:cNvPr id="40" name="Action Button: Forward or Next 26">
            <a:hlinkClick r:id="" action="ppaction://hlinkshowjump?jump=nextslide" highlightClick="1"/>
            <a:extLst>
              <a:ext uri="{FF2B5EF4-FFF2-40B4-BE49-F238E27FC236}">
                <a16:creationId xmlns:a16="http://schemas.microsoft.com/office/drawing/2014/main" id="{4D7BDCA1-EBAD-3A47-BD47-1F2D5CE315E3}"/>
              </a:ext>
            </a:extLst>
          </p:cNvPr>
          <p:cNvSpPr/>
          <p:nvPr userDrawn="1"/>
        </p:nvSpPr>
        <p:spPr>
          <a:xfrm>
            <a:off x="8652989" y="6310814"/>
            <a:ext cx="301752" cy="326898"/>
          </a:xfrm>
          <a:prstGeom prst="actionButtonForwardNext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>
              <a:latin typeface="Segoe UI Light" panose="020B0502040204020203" pitchFamily="34" charset="0"/>
            </a:endParaRPr>
          </a:p>
        </p:txBody>
      </p:sp>
      <p:sp>
        <p:nvSpPr>
          <p:cNvPr id="41" name="Action Button: Back or Previous 27">
            <a:hlinkClick r:id="" action="ppaction://hlinkshowjump?jump=previousslide" highlightClick="1"/>
            <a:extLst>
              <a:ext uri="{FF2B5EF4-FFF2-40B4-BE49-F238E27FC236}">
                <a16:creationId xmlns:a16="http://schemas.microsoft.com/office/drawing/2014/main" id="{C3CE824C-65AD-064D-A62A-BC4AA826892A}"/>
              </a:ext>
            </a:extLst>
          </p:cNvPr>
          <p:cNvSpPr/>
          <p:nvPr userDrawn="1"/>
        </p:nvSpPr>
        <p:spPr>
          <a:xfrm>
            <a:off x="7995150" y="6304498"/>
            <a:ext cx="301752" cy="326898"/>
          </a:xfrm>
          <a:prstGeom prst="actionButtonBackPrevious">
            <a:avLst/>
          </a:prstGeom>
          <a:solidFill>
            <a:srgbClr val="00CAC5">
              <a:alpha val="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>
              <a:latin typeface="Segoe UI Light" panose="020B0502040204020203" pitchFamily="34" charset="0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B0381DB-CE3B-F64D-BAD7-DBA032476BD1}"/>
              </a:ext>
            </a:extLst>
          </p:cNvPr>
          <p:cNvSpPr txBox="1"/>
          <p:nvPr/>
        </p:nvSpPr>
        <p:spPr>
          <a:xfrm>
            <a:off x="1620598" y="6598626"/>
            <a:ext cx="589170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23" b="0" i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© 2021 – IDFM - ISM</a:t>
            </a:r>
            <a:endParaRPr lang="fr-FR" sz="923" b="0" i="0" kern="1200">
              <a:solidFill>
                <a:schemeClr val="bg1">
                  <a:lumMod val="6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8DFDAEB-6D48-4DEF-87A2-1F4D2EEA370E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151" y="6369749"/>
            <a:ext cx="459448" cy="47780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2B5996A-E8E1-48D6-93D1-FEA4F3E29FB5}"/>
              </a:ext>
            </a:extLst>
          </p:cNvPr>
          <p:cNvPicPr>
            <a:picLocks noChangeAspect="1"/>
          </p:cNvPicPr>
          <p:nvPr userDrawn="1"/>
        </p:nvPicPr>
        <p:blipFill>
          <a:blip r:embed="rId89"/>
          <a:stretch>
            <a:fillRect/>
          </a:stretch>
        </p:blipFill>
        <p:spPr>
          <a:xfrm>
            <a:off x="76641" y="6432990"/>
            <a:ext cx="1087779" cy="344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868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  <p:sldLayoutId id="2147483917" r:id="rId13"/>
    <p:sldLayoutId id="2147483918" r:id="rId14"/>
    <p:sldLayoutId id="2147483919" r:id="rId15"/>
    <p:sldLayoutId id="2147483920" r:id="rId16"/>
    <p:sldLayoutId id="2147483921" r:id="rId17"/>
    <p:sldLayoutId id="2147483922" r:id="rId18"/>
    <p:sldLayoutId id="2147483923" r:id="rId19"/>
    <p:sldLayoutId id="2147483924" r:id="rId20"/>
    <p:sldLayoutId id="2147483925" r:id="rId21"/>
    <p:sldLayoutId id="2147483926" r:id="rId22"/>
    <p:sldLayoutId id="2147483927" r:id="rId23"/>
    <p:sldLayoutId id="2147483928" r:id="rId24"/>
    <p:sldLayoutId id="2147483929" r:id="rId25"/>
    <p:sldLayoutId id="2147483930" r:id="rId26"/>
    <p:sldLayoutId id="2147483931" r:id="rId27"/>
    <p:sldLayoutId id="2147483932" r:id="rId28"/>
    <p:sldLayoutId id="2147483933" r:id="rId29"/>
    <p:sldLayoutId id="2147483934" r:id="rId30"/>
    <p:sldLayoutId id="2147483935" r:id="rId31"/>
    <p:sldLayoutId id="2147483936" r:id="rId32"/>
    <p:sldLayoutId id="2147483937" r:id="rId33"/>
    <p:sldLayoutId id="2147483938" r:id="rId34"/>
    <p:sldLayoutId id="2147483939" r:id="rId35"/>
    <p:sldLayoutId id="2147483940" r:id="rId36"/>
    <p:sldLayoutId id="2147483941" r:id="rId37"/>
    <p:sldLayoutId id="2147483942" r:id="rId38"/>
    <p:sldLayoutId id="2147483943" r:id="rId39"/>
    <p:sldLayoutId id="2147483944" r:id="rId40"/>
    <p:sldLayoutId id="2147483945" r:id="rId41"/>
    <p:sldLayoutId id="2147483946" r:id="rId42"/>
    <p:sldLayoutId id="2147483947" r:id="rId43"/>
    <p:sldLayoutId id="2147483948" r:id="rId44"/>
    <p:sldLayoutId id="2147483949" r:id="rId45"/>
    <p:sldLayoutId id="2147483950" r:id="rId46"/>
    <p:sldLayoutId id="2147483951" r:id="rId47"/>
    <p:sldLayoutId id="2147483952" r:id="rId48"/>
    <p:sldLayoutId id="2147483953" r:id="rId49"/>
    <p:sldLayoutId id="2147483954" r:id="rId50"/>
    <p:sldLayoutId id="2147483955" r:id="rId51"/>
    <p:sldLayoutId id="2147483956" r:id="rId52"/>
    <p:sldLayoutId id="2147483957" r:id="rId53"/>
    <p:sldLayoutId id="2147483958" r:id="rId54"/>
    <p:sldLayoutId id="2147483959" r:id="rId55"/>
    <p:sldLayoutId id="2147483960" r:id="rId56"/>
    <p:sldLayoutId id="2147483961" r:id="rId57"/>
    <p:sldLayoutId id="2147483962" r:id="rId58"/>
    <p:sldLayoutId id="2147483963" r:id="rId59"/>
    <p:sldLayoutId id="2147483964" r:id="rId60"/>
    <p:sldLayoutId id="2147483965" r:id="rId61"/>
    <p:sldLayoutId id="2147483966" r:id="rId62"/>
    <p:sldLayoutId id="2147483967" r:id="rId63"/>
    <p:sldLayoutId id="2147483968" r:id="rId64"/>
    <p:sldLayoutId id="2147483969" r:id="rId65"/>
    <p:sldLayoutId id="2147483970" r:id="rId66"/>
    <p:sldLayoutId id="2147483971" r:id="rId67"/>
    <p:sldLayoutId id="2147483972" r:id="rId68"/>
    <p:sldLayoutId id="2147483973" r:id="rId69"/>
    <p:sldLayoutId id="2147483974" r:id="rId70"/>
    <p:sldLayoutId id="2147483975" r:id="rId71"/>
    <p:sldLayoutId id="2147483976" r:id="rId72"/>
    <p:sldLayoutId id="2147483977" r:id="rId73"/>
    <p:sldLayoutId id="2147483978" r:id="rId74"/>
    <p:sldLayoutId id="2147483979" r:id="rId75"/>
    <p:sldLayoutId id="2147483980" r:id="rId76"/>
    <p:sldLayoutId id="2147483981" r:id="rId77"/>
    <p:sldLayoutId id="2147483982" r:id="rId78"/>
    <p:sldLayoutId id="2147483983" r:id="rId79"/>
    <p:sldLayoutId id="2147483984" r:id="rId80"/>
    <p:sldLayoutId id="2147483985" r:id="rId81"/>
    <p:sldLayoutId id="2147483986" r:id="rId82"/>
  </p:sldLayoutIdLst>
  <p:txStyles>
    <p:titleStyle>
      <a:lvl1pPr algn="l" defTabSz="914424" rtl="0" eaLnBrk="1" latinLnBrk="0" hangingPunct="1">
        <a:lnSpc>
          <a:spcPct val="86000"/>
        </a:lnSpc>
        <a:spcBef>
          <a:spcPct val="0"/>
        </a:spcBef>
        <a:buNone/>
        <a:defRPr sz="2100" b="0" i="0" kern="800" spc="-40">
          <a:solidFill>
            <a:schemeClr val="tx1"/>
          </a:solidFill>
          <a:latin typeface="Segoe UI Light" panose="020B0502040204020203" pitchFamily="34" charset="0"/>
          <a:ea typeface="+mj-ea"/>
          <a:cs typeface="+mj-cs"/>
        </a:defRPr>
      </a:lvl1pPr>
    </p:titleStyle>
    <p:bodyStyle>
      <a:lvl1pPr marL="171455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500" b="0" i="0" kern="800" spc="-1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344496" indent="-173042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515951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687404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858860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63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6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4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48E46145-83BE-44F4-A58E-8EC6B29E88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4"/>
            </p:custDataLst>
            <p:extLst>
              <p:ext uri="{D42A27DB-BD31-4B8C-83A1-F6EECF244321}">
                <p14:modId xmlns:p14="http://schemas.microsoft.com/office/powerpoint/2010/main" val="68924861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6" imgW="473" imgH="473" progId="TCLayout.ActiveDocument.1">
                  <p:embed/>
                </p:oleObj>
              </mc:Choice>
              <mc:Fallback>
                <p:oleObj name="Diapositive think-cell" r:id="rId86" imgW="473" imgH="473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48E46145-83BE-44F4-A58E-8EC6B29E8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1A6866-D889-4AB5-8145-F51EE817811E}"/>
              </a:ext>
            </a:extLst>
          </p:cNvPr>
          <p:cNvSpPr/>
          <p:nvPr userDrawn="1">
            <p:custDataLst>
              <p:tags r:id="rId85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100" b="0" i="0" baseline="0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19204"/>
            <a:ext cx="77724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B0381DB-CE3B-F64D-BAD7-DBA032476BD1}"/>
              </a:ext>
            </a:extLst>
          </p:cNvPr>
          <p:cNvSpPr txBox="1"/>
          <p:nvPr/>
        </p:nvSpPr>
        <p:spPr>
          <a:xfrm>
            <a:off x="1620598" y="6598626"/>
            <a:ext cx="589170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23" b="0" i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© 2021 – IDFM - ISM</a:t>
            </a:r>
            <a:endParaRPr lang="fr-FR" sz="923" b="0" i="0" kern="1200">
              <a:solidFill>
                <a:schemeClr val="bg1">
                  <a:lumMod val="6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8DFDAEB-6D48-4DEF-87A2-1F4D2EEA370E}"/>
              </a:ext>
            </a:extLst>
          </p:cNvPr>
          <p:cNvPicPr>
            <a:picLocks noChangeAspect="1"/>
          </p:cNvPicPr>
          <p:nvPr userDrawn="1"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151" y="6369749"/>
            <a:ext cx="459448" cy="47780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2B5996A-E8E1-48D6-93D1-FEA4F3E29FB5}"/>
              </a:ext>
            </a:extLst>
          </p:cNvPr>
          <p:cNvPicPr>
            <a:picLocks noChangeAspect="1"/>
          </p:cNvPicPr>
          <p:nvPr userDrawn="1"/>
        </p:nvPicPr>
        <p:blipFill>
          <a:blip r:embed="rId89"/>
          <a:stretch>
            <a:fillRect/>
          </a:stretch>
        </p:blipFill>
        <p:spPr>
          <a:xfrm>
            <a:off x="76641" y="6432990"/>
            <a:ext cx="1087779" cy="344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352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  <p:sldLayoutId id="2147483999" r:id="rId12"/>
    <p:sldLayoutId id="2147484000" r:id="rId13"/>
    <p:sldLayoutId id="2147484001" r:id="rId14"/>
    <p:sldLayoutId id="2147484002" r:id="rId15"/>
    <p:sldLayoutId id="2147484003" r:id="rId16"/>
    <p:sldLayoutId id="2147484004" r:id="rId17"/>
    <p:sldLayoutId id="2147484005" r:id="rId18"/>
    <p:sldLayoutId id="2147484006" r:id="rId19"/>
    <p:sldLayoutId id="2147484007" r:id="rId20"/>
    <p:sldLayoutId id="2147484008" r:id="rId21"/>
    <p:sldLayoutId id="2147484009" r:id="rId22"/>
    <p:sldLayoutId id="2147484010" r:id="rId23"/>
    <p:sldLayoutId id="2147484011" r:id="rId24"/>
    <p:sldLayoutId id="2147484012" r:id="rId25"/>
    <p:sldLayoutId id="2147484013" r:id="rId26"/>
    <p:sldLayoutId id="2147484014" r:id="rId27"/>
    <p:sldLayoutId id="2147484015" r:id="rId28"/>
    <p:sldLayoutId id="2147484016" r:id="rId29"/>
    <p:sldLayoutId id="2147484017" r:id="rId30"/>
    <p:sldLayoutId id="2147484018" r:id="rId31"/>
    <p:sldLayoutId id="2147484019" r:id="rId32"/>
    <p:sldLayoutId id="2147484020" r:id="rId33"/>
    <p:sldLayoutId id="2147484021" r:id="rId34"/>
    <p:sldLayoutId id="2147484022" r:id="rId35"/>
    <p:sldLayoutId id="2147484023" r:id="rId36"/>
    <p:sldLayoutId id="2147484024" r:id="rId37"/>
    <p:sldLayoutId id="2147484025" r:id="rId38"/>
    <p:sldLayoutId id="2147484026" r:id="rId39"/>
    <p:sldLayoutId id="2147484027" r:id="rId40"/>
    <p:sldLayoutId id="2147484028" r:id="rId41"/>
    <p:sldLayoutId id="2147484029" r:id="rId42"/>
    <p:sldLayoutId id="2147484030" r:id="rId43"/>
    <p:sldLayoutId id="2147484031" r:id="rId44"/>
    <p:sldLayoutId id="2147484032" r:id="rId45"/>
    <p:sldLayoutId id="2147484033" r:id="rId46"/>
    <p:sldLayoutId id="2147484034" r:id="rId47"/>
    <p:sldLayoutId id="2147484035" r:id="rId48"/>
    <p:sldLayoutId id="2147484036" r:id="rId49"/>
    <p:sldLayoutId id="2147484037" r:id="rId50"/>
    <p:sldLayoutId id="2147484038" r:id="rId51"/>
    <p:sldLayoutId id="2147484039" r:id="rId52"/>
    <p:sldLayoutId id="2147484040" r:id="rId53"/>
    <p:sldLayoutId id="2147484041" r:id="rId54"/>
    <p:sldLayoutId id="2147484042" r:id="rId55"/>
    <p:sldLayoutId id="2147484043" r:id="rId56"/>
    <p:sldLayoutId id="2147484044" r:id="rId57"/>
    <p:sldLayoutId id="2147484045" r:id="rId58"/>
    <p:sldLayoutId id="2147484046" r:id="rId59"/>
    <p:sldLayoutId id="2147484047" r:id="rId60"/>
    <p:sldLayoutId id="2147484048" r:id="rId61"/>
    <p:sldLayoutId id="2147484049" r:id="rId62"/>
    <p:sldLayoutId id="2147484050" r:id="rId63"/>
    <p:sldLayoutId id="2147484051" r:id="rId64"/>
    <p:sldLayoutId id="2147484052" r:id="rId65"/>
    <p:sldLayoutId id="2147484053" r:id="rId66"/>
    <p:sldLayoutId id="2147484054" r:id="rId67"/>
    <p:sldLayoutId id="2147484055" r:id="rId68"/>
    <p:sldLayoutId id="2147484056" r:id="rId69"/>
    <p:sldLayoutId id="2147484057" r:id="rId70"/>
    <p:sldLayoutId id="2147484058" r:id="rId71"/>
    <p:sldLayoutId id="2147484059" r:id="rId72"/>
    <p:sldLayoutId id="2147484060" r:id="rId73"/>
    <p:sldLayoutId id="2147484061" r:id="rId74"/>
    <p:sldLayoutId id="2147484062" r:id="rId75"/>
    <p:sldLayoutId id="2147484063" r:id="rId76"/>
    <p:sldLayoutId id="2147484064" r:id="rId77"/>
    <p:sldLayoutId id="2147484065" r:id="rId78"/>
    <p:sldLayoutId id="2147484066" r:id="rId79"/>
    <p:sldLayoutId id="2147484067" r:id="rId80"/>
    <p:sldLayoutId id="2147484068" r:id="rId81"/>
    <p:sldLayoutId id="2147484069" r:id="rId82"/>
  </p:sldLayoutIdLst>
  <p:hf sldNum="0" hdr="0" dt="0"/>
  <p:txStyles>
    <p:titleStyle>
      <a:lvl1pPr algn="l" defTabSz="914424" rtl="0" eaLnBrk="1" latinLnBrk="0" hangingPunct="1">
        <a:lnSpc>
          <a:spcPct val="86000"/>
        </a:lnSpc>
        <a:spcBef>
          <a:spcPct val="0"/>
        </a:spcBef>
        <a:buNone/>
        <a:defRPr sz="2100" b="0" i="0" kern="800" spc="-40">
          <a:solidFill>
            <a:schemeClr val="tx1"/>
          </a:solidFill>
          <a:latin typeface="Segoe UI Light" panose="020B0502040204020203" pitchFamily="34" charset="0"/>
          <a:ea typeface="+mj-ea"/>
          <a:cs typeface="+mj-cs"/>
        </a:defRPr>
      </a:lvl1pPr>
    </p:titleStyle>
    <p:bodyStyle>
      <a:lvl1pPr marL="171455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500" b="0" i="0" kern="800" spc="-1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344496" indent="-173042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515951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687404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858860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63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6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4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48E46145-83BE-44F4-A58E-8EC6B29E88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6"/>
            </p:custDataLst>
            <p:extLst>
              <p:ext uri="{D42A27DB-BD31-4B8C-83A1-F6EECF244321}">
                <p14:modId xmlns:p14="http://schemas.microsoft.com/office/powerpoint/2010/main" val="2000769706"/>
              </p:ext>
            </p:extLst>
          </p:nvPr>
        </p:nvGraphicFramePr>
        <p:xfrm>
          <a:off x="1466" y="1588"/>
          <a:ext cx="146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88" imgW="473" imgH="473" progId="TCLayout.ActiveDocument.1">
                  <p:embed/>
                </p:oleObj>
              </mc:Choice>
              <mc:Fallback>
                <p:oleObj name="Diapositive think-cell" r:id="rId88" imgW="473" imgH="473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48E46145-83BE-44F4-A58E-8EC6B29E8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1466" y="1588"/>
                        <a:ext cx="146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D1A6866-D889-4AB5-8145-F51EE817811E}"/>
              </a:ext>
            </a:extLst>
          </p:cNvPr>
          <p:cNvSpPr/>
          <p:nvPr userDrawn="1">
            <p:custDataLst>
              <p:tags r:id="rId87"/>
            </p:custDataLst>
          </p:nvPr>
        </p:nvSpPr>
        <p:spPr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2100" b="0" i="0" baseline="0">
              <a:latin typeface="Segoe UI Light" panose="020B0502040204020203" pitchFamily="34" charset="0"/>
              <a:ea typeface="+mj-ea"/>
              <a:cs typeface="+mj-cs"/>
              <a:sym typeface="Segoe UI Light" panose="020B050204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279965"/>
            <a:ext cx="7772400" cy="42682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219204"/>
            <a:ext cx="77724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0B0381DB-CE3B-F64D-BAD7-DBA032476BD1}"/>
              </a:ext>
            </a:extLst>
          </p:cNvPr>
          <p:cNvSpPr txBox="1"/>
          <p:nvPr/>
        </p:nvSpPr>
        <p:spPr>
          <a:xfrm>
            <a:off x="1620598" y="6598626"/>
            <a:ext cx="589170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923" b="0" i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ea typeface="Segoe UI" panose="020B0502040204020203" pitchFamily="34" charset="0"/>
                <a:cs typeface="Segoe UI Light" panose="020B0502040204020203" pitchFamily="34" charset="0"/>
              </a:rPr>
              <a:t>© 2021 – IDFM - ISM</a:t>
            </a:r>
            <a:endParaRPr lang="fr-FR" sz="923" b="0" i="0" kern="1200">
              <a:solidFill>
                <a:schemeClr val="bg1">
                  <a:lumMod val="65000"/>
                </a:schemeClr>
              </a:solidFill>
              <a:latin typeface="Segoe UI Light" panose="020B0502040204020203" pitchFamily="34" charset="0"/>
              <a:ea typeface="Segoe UI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8DFDAEB-6D48-4DEF-87A2-1F4D2EEA370E}"/>
              </a:ext>
            </a:extLst>
          </p:cNvPr>
          <p:cNvPicPr>
            <a:picLocks noChangeAspect="1"/>
          </p:cNvPicPr>
          <p:nvPr userDrawn="1"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151" y="6369749"/>
            <a:ext cx="459448" cy="477804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2B5996A-E8E1-48D6-93D1-FEA4F3E29FB5}"/>
              </a:ext>
            </a:extLst>
          </p:cNvPr>
          <p:cNvPicPr>
            <a:picLocks noChangeAspect="1"/>
          </p:cNvPicPr>
          <p:nvPr userDrawn="1"/>
        </p:nvPicPr>
        <p:blipFill>
          <a:blip r:embed="rId91"/>
          <a:stretch>
            <a:fillRect/>
          </a:stretch>
        </p:blipFill>
        <p:spPr>
          <a:xfrm>
            <a:off x="76641" y="6432990"/>
            <a:ext cx="1087779" cy="344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93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  <p:sldLayoutId id="2147484085" r:id="rId15"/>
    <p:sldLayoutId id="2147484086" r:id="rId16"/>
    <p:sldLayoutId id="2147484087" r:id="rId17"/>
    <p:sldLayoutId id="2147484088" r:id="rId18"/>
    <p:sldLayoutId id="2147484089" r:id="rId19"/>
    <p:sldLayoutId id="2147484090" r:id="rId20"/>
    <p:sldLayoutId id="2147484091" r:id="rId21"/>
    <p:sldLayoutId id="2147484092" r:id="rId22"/>
    <p:sldLayoutId id="2147484093" r:id="rId23"/>
    <p:sldLayoutId id="2147484094" r:id="rId24"/>
    <p:sldLayoutId id="2147484095" r:id="rId25"/>
    <p:sldLayoutId id="2147484096" r:id="rId26"/>
    <p:sldLayoutId id="2147484097" r:id="rId27"/>
    <p:sldLayoutId id="2147484098" r:id="rId28"/>
    <p:sldLayoutId id="2147484099" r:id="rId29"/>
    <p:sldLayoutId id="2147484100" r:id="rId30"/>
    <p:sldLayoutId id="2147484101" r:id="rId31"/>
    <p:sldLayoutId id="2147484102" r:id="rId32"/>
    <p:sldLayoutId id="2147484103" r:id="rId33"/>
    <p:sldLayoutId id="2147484104" r:id="rId34"/>
    <p:sldLayoutId id="2147484105" r:id="rId35"/>
    <p:sldLayoutId id="2147484106" r:id="rId36"/>
    <p:sldLayoutId id="2147484107" r:id="rId37"/>
    <p:sldLayoutId id="2147484108" r:id="rId38"/>
    <p:sldLayoutId id="2147484109" r:id="rId39"/>
    <p:sldLayoutId id="2147484110" r:id="rId40"/>
    <p:sldLayoutId id="2147484111" r:id="rId41"/>
    <p:sldLayoutId id="2147484112" r:id="rId42"/>
    <p:sldLayoutId id="2147484113" r:id="rId43"/>
    <p:sldLayoutId id="2147484114" r:id="rId44"/>
    <p:sldLayoutId id="2147484115" r:id="rId45"/>
    <p:sldLayoutId id="2147484116" r:id="rId46"/>
    <p:sldLayoutId id="2147484117" r:id="rId47"/>
    <p:sldLayoutId id="2147484118" r:id="rId48"/>
    <p:sldLayoutId id="2147484119" r:id="rId49"/>
    <p:sldLayoutId id="2147484120" r:id="rId50"/>
    <p:sldLayoutId id="2147484121" r:id="rId51"/>
    <p:sldLayoutId id="2147484122" r:id="rId52"/>
    <p:sldLayoutId id="2147484123" r:id="rId53"/>
    <p:sldLayoutId id="2147484124" r:id="rId54"/>
    <p:sldLayoutId id="2147484125" r:id="rId55"/>
    <p:sldLayoutId id="2147484126" r:id="rId56"/>
    <p:sldLayoutId id="2147484127" r:id="rId57"/>
    <p:sldLayoutId id="2147484128" r:id="rId58"/>
    <p:sldLayoutId id="2147484129" r:id="rId59"/>
    <p:sldLayoutId id="2147484130" r:id="rId60"/>
    <p:sldLayoutId id="2147484131" r:id="rId61"/>
    <p:sldLayoutId id="2147484132" r:id="rId62"/>
    <p:sldLayoutId id="2147484133" r:id="rId63"/>
    <p:sldLayoutId id="2147484134" r:id="rId64"/>
    <p:sldLayoutId id="2147484135" r:id="rId65"/>
    <p:sldLayoutId id="2147484136" r:id="rId66"/>
    <p:sldLayoutId id="2147484137" r:id="rId67"/>
    <p:sldLayoutId id="2147484138" r:id="rId68"/>
    <p:sldLayoutId id="2147484139" r:id="rId69"/>
    <p:sldLayoutId id="2147484140" r:id="rId70"/>
    <p:sldLayoutId id="2147484141" r:id="rId71"/>
    <p:sldLayoutId id="2147484142" r:id="rId72"/>
    <p:sldLayoutId id="2147484143" r:id="rId73"/>
    <p:sldLayoutId id="2147484144" r:id="rId74"/>
    <p:sldLayoutId id="2147484145" r:id="rId75"/>
    <p:sldLayoutId id="2147484146" r:id="rId76"/>
    <p:sldLayoutId id="2147484147" r:id="rId77"/>
    <p:sldLayoutId id="2147484148" r:id="rId78"/>
    <p:sldLayoutId id="2147484149" r:id="rId79"/>
    <p:sldLayoutId id="2147484150" r:id="rId80"/>
    <p:sldLayoutId id="2147484151" r:id="rId81"/>
    <p:sldLayoutId id="2147484152" r:id="rId82"/>
    <p:sldLayoutId id="2147484153" r:id="rId83"/>
    <p:sldLayoutId id="2147484155" r:id="rId84"/>
  </p:sldLayoutIdLst>
  <p:txStyles>
    <p:titleStyle>
      <a:lvl1pPr algn="l" defTabSz="914424" rtl="0" eaLnBrk="1" latinLnBrk="0" hangingPunct="1">
        <a:lnSpc>
          <a:spcPct val="86000"/>
        </a:lnSpc>
        <a:spcBef>
          <a:spcPct val="0"/>
        </a:spcBef>
        <a:buNone/>
        <a:defRPr sz="2100" b="0" i="0" kern="800" spc="-40">
          <a:solidFill>
            <a:schemeClr val="tx1"/>
          </a:solidFill>
          <a:latin typeface="Segoe UI Light" panose="020B0502040204020203" pitchFamily="34" charset="0"/>
          <a:ea typeface="+mj-ea"/>
          <a:cs typeface="+mj-cs"/>
        </a:defRPr>
      </a:lvl1pPr>
    </p:titleStyle>
    <p:bodyStyle>
      <a:lvl1pPr marL="171455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500" b="0" i="0" kern="800" spc="-1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344496" indent="-173042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515951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687404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858860" indent="-171455" algn="l" defTabSz="914424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200" b="0" i="0" kern="8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63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6" indent="-228606" algn="l" defTabSz="914424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4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989196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161" r:id="rId1"/>
    <p:sldLayoutId id="2147484162" r:id="rId2"/>
    <p:sldLayoutId id="2147484163" r:id="rId3"/>
    <p:sldLayoutId id="2147484164" r:id="rId4"/>
    <p:sldLayoutId id="2147484165" r:id="rId5"/>
    <p:sldLayoutId id="2147484166" r:id="rId6"/>
    <p:sldLayoutId id="2147484167" r:id="rId7"/>
    <p:sldLayoutId id="2147484168" r:id="rId8"/>
    <p:sldLayoutId id="2147484169" r:id="rId9"/>
    <p:sldLayoutId id="2147484170" r:id="rId10"/>
    <p:sldLayoutId id="2147484171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4.xml"/><Relationship Id="rId6" Type="http://schemas.openxmlformats.org/officeDocument/2006/relationships/image" Target="../media/image25.png"/><Relationship Id="rId5" Type="http://schemas.openxmlformats.org/officeDocument/2006/relationships/image" Target="../media/image24.jp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0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35.png"/><Relationship Id="rId11" Type="http://schemas.openxmlformats.org/officeDocument/2006/relationships/image" Target="cid:image002.jpg@01D61737.A218E930" TargetMode="External"/><Relationship Id="rId5" Type="http://schemas.openxmlformats.org/officeDocument/2006/relationships/image" Target="../media/image34.png"/><Relationship Id="rId10" Type="http://schemas.openxmlformats.org/officeDocument/2006/relationships/image" Target="../media/image39.jpe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18" Type="http://schemas.openxmlformats.org/officeDocument/2006/relationships/image" Target="../media/image57.svg"/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12" Type="http://schemas.openxmlformats.org/officeDocument/2006/relationships/image" Target="../media/image51.svg"/><Relationship Id="rId17" Type="http://schemas.openxmlformats.org/officeDocument/2006/relationships/image" Target="../media/image56.png"/><Relationship Id="rId2" Type="http://schemas.openxmlformats.org/officeDocument/2006/relationships/image" Target="../media/image41.png"/><Relationship Id="rId16" Type="http://schemas.openxmlformats.org/officeDocument/2006/relationships/image" Target="../media/image55.jpe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45.jpeg"/><Relationship Id="rId11" Type="http://schemas.openxmlformats.org/officeDocument/2006/relationships/image" Target="../media/image50.png"/><Relationship Id="rId5" Type="http://schemas.openxmlformats.org/officeDocument/2006/relationships/image" Target="../media/image44.png"/><Relationship Id="rId15" Type="http://schemas.openxmlformats.org/officeDocument/2006/relationships/image" Target="../media/image54.jpeg"/><Relationship Id="rId10" Type="http://schemas.openxmlformats.org/officeDocument/2006/relationships/image" Target="../media/image49.jpeg"/><Relationship Id="rId19" Type="http://schemas.openxmlformats.org/officeDocument/2006/relationships/image" Target="../media/image58.png"/><Relationship Id="rId4" Type="http://schemas.openxmlformats.org/officeDocument/2006/relationships/image" Target="../media/image43.png"/><Relationship Id="rId9" Type="http://schemas.openxmlformats.org/officeDocument/2006/relationships/image" Target="../media/image48.jpeg"/><Relationship Id="rId14" Type="http://schemas.openxmlformats.org/officeDocument/2006/relationships/image" Target="../media/image5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67.png"/><Relationship Id="rId3" Type="http://schemas.openxmlformats.org/officeDocument/2006/relationships/image" Target="../media/image59.png"/><Relationship Id="rId7" Type="http://schemas.openxmlformats.org/officeDocument/2006/relationships/image" Target="../media/image62.png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4.xml"/><Relationship Id="rId6" Type="http://schemas.openxmlformats.org/officeDocument/2006/relationships/image" Target="../media/image61.png"/><Relationship Id="rId11" Type="http://schemas.openxmlformats.org/officeDocument/2006/relationships/image" Target="../media/image65.png"/><Relationship Id="rId5" Type="http://schemas.openxmlformats.org/officeDocument/2006/relationships/image" Target="../media/image60.png"/><Relationship Id="rId15" Type="http://schemas.openxmlformats.org/officeDocument/2006/relationships/image" Target="../media/image69.png"/><Relationship Id="rId10" Type="http://schemas.openxmlformats.org/officeDocument/2006/relationships/image" Target="../media/image64.png"/><Relationship Id="rId4" Type="http://schemas.openxmlformats.org/officeDocument/2006/relationships/image" Target="../media/image22.png"/><Relationship Id="rId9" Type="http://schemas.openxmlformats.org/officeDocument/2006/relationships/image" Target="../media/image63.png"/><Relationship Id="rId14" Type="http://schemas.openxmlformats.org/officeDocument/2006/relationships/image" Target="../media/image6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972D2"/>
        </a:solidFill>
        <a:effectLst/>
      </p:bgPr>
    </p:bg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Google Shape;54;p13"/>
          <p:cNvPicPr preferRelativeResize="0"/>
          <p:nvPr/>
        </p:nvPicPr>
        <p:blipFill rotWithShape="1">
          <a:blip r:embed="rId3">
            <a:alphaModFix/>
          </a:blip>
          <a:srcRect t="57657" r="57775"/>
          <a:stretch/>
        </p:blipFill>
        <p:spPr>
          <a:xfrm>
            <a:off x="5626775" y="857251"/>
            <a:ext cx="3517224" cy="1787699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Google Shape;55;p1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118101" y="1009650"/>
            <a:ext cx="1873501" cy="634750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Google Shape;56;p13"/>
          <p:cNvSpPr txBox="1"/>
          <p:nvPr/>
        </p:nvSpPr>
        <p:spPr>
          <a:xfrm>
            <a:off x="2388350" y="3049375"/>
            <a:ext cx="5950500" cy="1376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r>
              <a:rPr kumimoji="0" lang="fr-FR" sz="25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 Light"/>
              </a:rPr>
              <a:t>Début 2022</a:t>
            </a:r>
            <a:endParaRPr kumimoji="0" sz="25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r>
              <a:rPr kumimoji="0" lang="fr" sz="3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Évolutions de l’app</a:t>
            </a:r>
            <a:endParaRPr kumimoji="0" sz="3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r>
              <a:rPr kumimoji="0" lang="fr" sz="2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Vers un service MaaS collaboratif</a:t>
            </a:r>
            <a:endParaRPr kumimoji="0" sz="2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57" name="Google Shape;57;p13"/>
          <p:cNvPicPr preferRelativeResize="0"/>
          <p:nvPr/>
        </p:nvPicPr>
        <p:blipFill rotWithShape="1">
          <a:blip r:embed="rId5">
            <a:alphaModFix/>
          </a:blip>
          <a:srcRect b="17225"/>
          <a:stretch/>
        </p:blipFill>
        <p:spPr>
          <a:xfrm>
            <a:off x="382400" y="2008800"/>
            <a:ext cx="1790700" cy="3207900"/>
          </a:xfrm>
          <a:prstGeom prst="roundRect">
            <a:avLst>
              <a:gd name="adj" fmla="val 10014"/>
            </a:avLst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58" name="Google Shape;58;p13"/>
          <p:cNvSpPr/>
          <p:nvPr/>
        </p:nvSpPr>
        <p:spPr>
          <a:xfrm>
            <a:off x="290475" y="1495175"/>
            <a:ext cx="1978500" cy="3897300"/>
          </a:xfrm>
          <a:prstGeom prst="roundRect">
            <a:avLst>
              <a:gd name="adj" fmla="val 1528"/>
            </a:avLst>
          </a:prstGeom>
          <a:solidFill>
            <a:srgbClr val="15395A"/>
          </a:solidFill>
          <a:ln w="25400" cap="flat" cmpd="sng">
            <a:solidFill>
              <a:srgbClr val="15395A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Tx/>
              <a:buNone/>
              <a:tabLst/>
              <a:defRPr/>
            </a:pP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pSp>
        <p:nvGrpSpPr>
          <p:cNvPr id="59" name="Google Shape;59;p13"/>
          <p:cNvGrpSpPr/>
          <p:nvPr/>
        </p:nvGrpSpPr>
        <p:grpSpPr>
          <a:xfrm>
            <a:off x="377726" y="1578743"/>
            <a:ext cx="1800075" cy="3731533"/>
            <a:chOff x="377725" y="721492"/>
            <a:chExt cx="1800075" cy="3731533"/>
          </a:xfrm>
        </p:grpSpPr>
        <p:grpSp>
          <p:nvGrpSpPr>
            <p:cNvPr id="60" name="Google Shape;60;p13"/>
            <p:cNvGrpSpPr/>
            <p:nvPr/>
          </p:nvGrpSpPr>
          <p:grpSpPr>
            <a:xfrm>
              <a:off x="377725" y="721492"/>
              <a:ext cx="1800075" cy="3731533"/>
              <a:chOff x="1044388" y="534929"/>
              <a:chExt cx="1800075" cy="3731533"/>
            </a:xfrm>
          </p:grpSpPr>
          <p:pic>
            <p:nvPicPr>
              <p:cNvPr id="61" name="Google Shape;61;p13"/>
              <p:cNvPicPr preferRelativeResize="0"/>
              <p:nvPr/>
            </p:nvPicPr>
            <p:blipFill rotWithShape="1">
              <a:blip r:embed="rId6">
                <a:alphaModFix/>
              </a:blip>
              <a:srcRect b="4251"/>
              <a:stretch/>
            </p:blipFill>
            <p:spPr>
              <a:xfrm>
                <a:off x="1044388" y="534937"/>
                <a:ext cx="1800075" cy="3731526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62" name="Google Shape;62;p13"/>
              <p:cNvPicPr preferRelativeResize="0"/>
              <p:nvPr/>
            </p:nvPicPr>
            <p:blipFill rotWithShape="1">
              <a:blip r:embed="rId7">
                <a:alphaModFix/>
              </a:blip>
              <a:srcRect b="12157"/>
              <a:stretch/>
            </p:blipFill>
            <p:spPr>
              <a:xfrm>
                <a:off x="1049075" y="534975"/>
                <a:ext cx="1790699" cy="1870002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63" name="Google Shape;63;p13"/>
              <p:cNvPicPr preferRelativeResize="0"/>
              <p:nvPr/>
            </p:nvPicPr>
            <p:blipFill rotWithShape="1">
              <a:blip r:embed="rId6">
                <a:alphaModFix/>
              </a:blip>
              <a:srcRect l="85123" t="41428" r="3194" b="53181"/>
              <a:stretch/>
            </p:blipFill>
            <p:spPr>
              <a:xfrm>
                <a:off x="2571025" y="2152775"/>
                <a:ext cx="210000" cy="210000"/>
              </a:xfrm>
              <a:prstGeom prst="ellipse">
                <a:avLst/>
              </a:prstGeom>
              <a:noFill/>
              <a:ln>
                <a:noFill/>
              </a:ln>
            </p:spPr>
          </p:pic>
          <p:pic>
            <p:nvPicPr>
              <p:cNvPr id="64" name="Google Shape;64;p13"/>
              <p:cNvPicPr preferRelativeResize="0"/>
              <p:nvPr/>
            </p:nvPicPr>
            <p:blipFill>
              <a:blip r:embed="rId8">
                <a:alphaModFix/>
              </a:blip>
              <a:stretch>
                <a:fillRect/>
              </a:stretch>
            </p:blipFill>
            <p:spPr>
              <a:xfrm>
                <a:off x="1918730" y="2151118"/>
                <a:ext cx="609600" cy="199500"/>
              </a:xfrm>
              <a:prstGeom prst="roundRect">
                <a:avLst>
                  <a:gd name="adj" fmla="val 9155"/>
                </a:avLst>
              </a:prstGeom>
              <a:noFill/>
              <a:ln>
                <a:noFill/>
              </a:ln>
            </p:spPr>
          </p:pic>
          <p:pic>
            <p:nvPicPr>
              <p:cNvPr id="65" name="Google Shape;65;p13"/>
              <p:cNvPicPr preferRelativeResize="0"/>
              <p:nvPr/>
            </p:nvPicPr>
            <p:blipFill>
              <a:blip r:embed="rId9">
                <a:alphaModFix/>
              </a:blip>
              <a:stretch>
                <a:fillRect/>
              </a:stretch>
            </p:blipFill>
            <p:spPr>
              <a:xfrm>
                <a:off x="1049075" y="534929"/>
                <a:ext cx="1790699" cy="9948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66" name="Google Shape;66;p13"/>
            <p:cNvPicPr preferRelativeResize="0"/>
            <p:nvPr/>
          </p:nvPicPr>
          <p:blipFill>
            <a:blip r:embed="rId10">
              <a:alphaModFix/>
            </a:blip>
            <a:stretch>
              <a:fillRect/>
            </a:stretch>
          </p:blipFill>
          <p:spPr>
            <a:xfrm>
              <a:off x="1315891" y="1044197"/>
              <a:ext cx="103114" cy="1049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7" name="Google Shape;67;p13"/>
            <p:cNvPicPr preferRelativeResize="0"/>
            <p:nvPr/>
          </p:nvPicPr>
          <p:blipFill>
            <a:blip r:embed="rId10">
              <a:alphaModFix/>
            </a:blip>
            <a:stretch>
              <a:fillRect/>
            </a:stretch>
          </p:blipFill>
          <p:spPr>
            <a:xfrm>
              <a:off x="1725450" y="1540691"/>
              <a:ext cx="103114" cy="1049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8" name="Google Shape;68;p13"/>
            <p:cNvPicPr preferRelativeResize="0"/>
            <p:nvPr/>
          </p:nvPicPr>
          <p:blipFill>
            <a:blip r:embed="rId10">
              <a:alphaModFix/>
            </a:blip>
            <a:stretch>
              <a:fillRect/>
            </a:stretch>
          </p:blipFill>
          <p:spPr>
            <a:xfrm>
              <a:off x="649128" y="1225188"/>
              <a:ext cx="103114" cy="1049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9" name="Google Shape;69;p13"/>
            <p:cNvPicPr preferRelativeResize="0"/>
            <p:nvPr/>
          </p:nvPicPr>
          <p:blipFill>
            <a:blip r:embed="rId10">
              <a:alphaModFix/>
            </a:blip>
            <a:stretch>
              <a:fillRect/>
            </a:stretch>
          </p:blipFill>
          <p:spPr>
            <a:xfrm>
              <a:off x="759150" y="2339603"/>
              <a:ext cx="103114" cy="104975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5289719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5A219F37-ECF8-4E88-B698-ED3A742E1D9A}"/>
              </a:ext>
            </a:extLst>
          </p:cNvPr>
          <p:cNvSpPr txBox="1">
            <a:spLocks/>
          </p:cNvSpPr>
          <p:nvPr/>
        </p:nvSpPr>
        <p:spPr>
          <a:xfrm>
            <a:off x="356100" y="654525"/>
            <a:ext cx="8528013" cy="6082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1" kern="1200">
                <a:solidFill>
                  <a:srgbClr val="00B0F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/>
              <a:t>En tant qu’opérateur MaaS, Ile-de-France Mobilités a développé une application permettant aux usagers de voyager de bout en bout en Île-de-France</a:t>
            </a:r>
          </a:p>
        </p:txBody>
      </p:sp>
      <p:pic>
        <p:nvPicPr>
          <p:cNvPr id="8198" name="Picture 6" descr="Île-de-France Mobilités évolue – votre avis nous intéresse ! - Le Lab by Ile -de-France MobilitésLe Lab by Ile-de-France Mobilités">
            <a:extLst>
              <a:ext uri="{FF2B5EF4-FFF2-40B4-BE49-F238E27FC236}">
                <a16:creationId xmlns:a16="http://schemas.microsoft.com/office/drawing/2014/main" id="{3BAE8C52-82B5-48D5-9ADD-7457216844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329"/>
          <a:stretch/>
        </p:blipFill>
        <p:spPr bwMode="auto">
          <a:xfrm>
            <a:off x="0" y="1348404"/>
            <a:ext cx="9144000" cy="3872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DA68E6-2DEB-42F2-A2D9-1D17195230B1}"/>
              </a:ext>
            </a:extLst>
          </p:cNvPr>
          <p:cNvSpPr/>
          <p:nvPr/>
        </p:nvSpPr>
        <p:spPr>
          <a:xfrm>
            <a:off x="167665" y="5864084"/>
            <a:ext cx="7875122" cy="57190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b="1" dirty="0">
                <a:solidFill>
                  <a:schemeClr val="tx1"/>
                </a:solidFill>
                <a:sym typeface="Wingdings" panose="05000000000000000000" pitchFamily="2" charset="2"/>
              </a:rPr>
              <a:t> Certaines fonctionnalités développées sont mises à disposition des acteurs de l’écosystème </a:t>
            </a:r>
            <a:endParaRPr lang="fr-FR" sz="1400" b="1" dirty="0">
              <a:solidFill>
                <a:schemeClr val="tx1"/>
              </a:solidFill>
            </a:endParaRP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044937D6-CAF2-4337-8071-0CC8C8B6C97B}"/>
              </a:ext>
            </a:extLst>
          </p:cNvPr>
          <p:cNvGrpSpPr/>
          <p:nvPr/>
        </p:nvGrpSpPr>
        <p:grpSpPr>
          <a:xfrm>
            <a:off x="167665" y="4729270"/>
            <a:ext cx="8808669" cy="983629"/>
            <a:chOff x="75444" y="4647626"/>
            <a:chExt cx="9549993" cy="1195756"/>
          </a:xfrm>
        </p:grpSpPr>
        <p:sp>
          <p:nvSpPr>
            <p:cNvPr id="9" name="Pentagone 3">
              <a:extLst>
                <a:ext uri="{FF2B5EF4-FFF2-40B4-BE49-F238E27FC236}">
                  <a16:creationId xmlns:a16="http://schemas.microsoft.com/office/drawing/2014/main" id="{0739384D-C00A-4C07-9A0F-F8F5D0C1B259}"/>
                </a:ext>
              </a:extLst>
            </p:cNvPr>
            <p:cNvSpPr/>
            <p:nvPr/>
          </p:nvSpPr>
          <p:spPr>
            <a:xfrm>
              <a:off x="75444" y="4647627"/>
              <a:ext cx="1872000" cy="681643"/>
            </a:xfrm>
            <a:prstGeom prst="roundRect">
              <a:avLst/>
            </a:prstGeom>
            <a:solidFill>
              <a:srgbClr val="11273B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Segoe UI" panose="020B0502040204020203" pitchFamily="34" charset="0"/>
                </a:rPr>
                <a:t>Planification</a:t>
              </a:r>
            </a:p>
          </p:txBody>
        </p:sp>
        <p:sp>
          <p:nvSpPr>
            <p:cNvPr id="11" name="Chevron 20">
              <a:extLst>
                <a:ext uri="{FF2B5EF4-FFF2-40B4-BE49-F238E27FC236}">
                  <a16:creationId xmlns:a16="http://schemas.microsoft.com/office/drawing/2014/main" id="{D93CE884-8881-40F1-A073-5DED10BDB1E8}"/>
                </a:ext>
              </a:extLst>
            </p:cNvPr>
            <p:cNvSpPr/>
            <p:nvPr/>
          </p:nvSpPr>
          <p:spPr>
            <a:xfrm>
              <a:off x="1994942" y="4647627"/>
              <a:ext cx="1872000" cy="681643"/>
            </a:xfrm>
            <a:prstGeom prst="roundRect">
              <a:avLst/>
            </a:prstGeom>
            <a:solidFill>
              <a:srgbClr val="19486D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rIns="36000"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Segoe UI" panose="020B0502040204020203" pitchFamily="34" charset="0"/>
                </a:rPr>
                <a:t>Réservation</a:t>
              </a:r>
            </a:p>
          </p:txBody>
        </p:sp>
        <p:sp>
          <p:nvSpPr>
            <p:cNvPr id="14" name="Chevron 21">
              <a:extLst>
                <a:ext uri="{FF2B5EF4-FFF2-40B4-BE49-F238E27FC236}">
                  <a16:creationId xmlns:a16="http://schemas.microsoft.com/office/drawing/2014/main" id="{2D3957F1-7A40-4807-90F5-7F41BAA80653}"/>
                </a:ext>
              </a:extLst>
            </p:cNvPr>
            <p:cNvSpPr/>
            <p:nvPr/>
          </p:nvSpPr>
          <p:spPr>
            <a:xfrm>
              <a:off x="3914440" y="4647627"/>
              <a:ext cx="1872000" cy="681643"/>
            </a:xfrm>
            <a:prstGeom prst="roundRect">
              <a:avLst/>
            </a:prstGeom>
            <a:solidFill>
              <a:srgbClr val="007FB9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rIns="0"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Segoe UI" panose="020B0502040204020203" pitchFamily="34" charset="0"/>
                </a:rPr>
                <a:t>Paiement</a:t>
              </a:r>
            </a:p>
          </p:txBody>
        </p:sp>
        <p:sp>
          <p:nvSpPr>
            <p:cNvPr id="15" name="Chevron 23">
              <a:extLst>
                <a:ext uri="{FF2B5EF4-FFF2-40B4-BE49-F238E27FC236}">
                  <a16:creationId xmlns:a16="http://schemas.microsoft.com/office/drawing/2014/main" id="{1A029DFB-1B61-46D5-B1DB-2E0B428461A0}"/>
                </a:ext>
              </a:extLst>
            </p:cNvPr>
            <p:cNvSpPr/>
            <p:nvPr/>
          </p:nvSpPr>
          <p:spPr>
            <a:xfrm>
              <a:off x="5833938" y="4647627"/>
              <a:ext cx="1872000" cy="681643"/>
            </a:xfrm>
            <a:prstGeom prst="roundRect">
              <a:avLst/>
            </a:prstGeom>
            <a:solidFill>
              <a:srgbClr val="00ADE9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Segoe UI" panose="020B0502040204020203" pitchFamily="34" charset="0"/>
                </a:rPr>
                <a:t>Voyage</a:t>
              </a:r>
            </a:p>
          </p:txBody>
        </p:sp>
        <p:sp>
          <p:nvSpPr>
            <p:cNvPr id="16" name="Pentagone 3">
              <a:extLst>
                <a:ext uri="{FF2B5EF4-FFF2-40B4-BE49-F238E27FC236}">
                  <a16:creationId xmlns:a16="http://schemas.microsoft.com/office/drawing/2014/main" id="{3E0DE7BA-7BCD-4BD4-A8F8-2A4BB52BA165}"/>
                </a:ext>
              </a:extLst>
            </p:cNvPr>
            <p:cNvSpPr/>
            <p:nvPr/>
          </p:nvSpPr>
          <p:spPr>
            <a:xfrm>
              <a:off x="75444" y="5430799"/>
              <a:ext cx="9549993" cy="412583"/>
            </a:xfrm>
            <a:prstGeom prst="roundRect">
              <a:avLst/>
            </a:prstGeom>
            <a:solidFill>
              <a:srgbClr val="11273B">
                <a:lumMod val="25000"/>
                <a:lumOff val="75000"/>
              </a:srgbClr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Segoe UI" panose="020B0502040204020203" pitchFamily="34" charset="0"/>
                </a:rPr>
                <a:t>Information Voyageurs</a:t>
              </a:r>
            </a:p>
          </p:txBody>
        </p:sp>
        <p:sp>
          <p:nvSpPr>
            <p:cNvPr id="17" name="Chevron 23">
              <a:extLst>
                <a:ext uri="{FF2B5EF4-FFF2-40B4-BE49-F238E27FC236}">
                  <a16:creationId xmlns:a16="http://schemas.microsoft.com/office/drawing/2014/main" id="{3D399AE5-CDD1-4266-8E0D-F928E4F10F57}"/>
                </a:ext>
              </a:extLst>
            </p:cNvPr>
            <p:cNvSpPr/>
            <p:nvPr/>
          </p:nvSpPr>
          <p:spPr>
            <a:xfrm>
              <a:off x="7753437" y="4647626"/>
              <a:ext cx="1872000" cy="681643"/>
            </a:xfrm>
            <a:prstGeom prst="roundRect">
              <a:avLst/>
            </a:prstGeom>
            <a:solidFill>
              <a:srgbClr val="4CC2F1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Segoe UI" panose="020B0502040204020203" pitchFamily="34" charset="0"/>
                </a:rPr>
                <a:t>Service après ven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10530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772E2AC-096D-4CEA-B77D-E7D9A6E4C5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sz="1800" dirty="0"/>
              <a:t>L’application </a:t>
            </a:r>
            <a:r>
              <a:rPr lang="fr-FR" sz="1800" dirty="0" err="1"/>
              <a:t>MaaS</a:t>
            </a:r>
            <a:r>
              <a:rPr lang="fr-FR" sz="1800" dirty="0"/>
              <a:t> développée par Île-de-France Mobilités propose de nombreuses fonctionnalités liées aux services de transports en commun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435D1DD8-F2F2-4283-9EA3-1E758DDB17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783" y="2247380"/>
            <a:ext cx="1265267" cy="1980491"/>
          </a:xfrm>
          <a:prstGeom prst="roundRect">
            <a:avLst>
              <a:gd name="adj" fmla="val 3967"/>
            </a:avLst>
          </a:prstGeom>
          <a:ln>
            <a:solidFill>
              <a:sysClr val="window" lastClr="FFFFFF">
                <a:lumMod val="65000"/>
              </a:sysClr>
            </a:solidFill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22810F8E-F61E-4F16-BA1B-5B53B0A55A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1835" y="2242232"/>
            <a:ext cx="1265265" cy="1980488"/>
          </a:xfrm>
          <a:prstGeom prst="roundRect">
            <a:avLst>
              <a:gd name="adj" fmla="val 4814"/>
            </a:avLst>
          </a:prstGeom>
          <a:ln>
            <a:solidFill>
              <a:sysClr val="window" lastClr="FFFFFF">
                <a:lumMod val="65000"/>
              </a:sysClr>
            </a:solidFill>
          </a:ln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000A5411-A4DF-4029-AE64-200F54D2003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2929" y="4318892"/>
            <a:ext cx="1232820" cy="1929703"/>
          </a:xfrm>
          <a:prstGeom prst="roundRect">
            <a:avLst>
              <a:gd name="adj" fmla="val 3433"/>
            </a:avLst>
          </a:prstGeom>
          <a:ln>
            <a:solidFill>
              <a:sysClr val="window" lastClr="FFFFFF">
                <a:lumMod val="65000"/>
              </a:sysClr>
            </a:solidFill>
          </a:ln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8FD5DD35-E637-4FEE-92AE-31FB27229CA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1147" y="4318892"/>
            <a:ext cx="1232820" cy="695443"/>
          </a:xfrm>
          <a:prstGeom prst="roundRect">
            <a:avLst>
              <a:gd name="adj" fmla="val 3967"/>
            </a:avLst>
          </a:prstGeom>
          <a:ln>
            <a:solidFill>
              <a:sysClr val="window" lastClr="FFFFFF">
                <a:lumMod val="65000"/>
              </a:sysClr>
            </a:solidFill>
          </a:ln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ADE75991-6822-4CE1-BC24-4C18CBE81C3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1147" y="2242233"/>
            <a:ext cx="1233660" cy="1894460"/>
          </a:xfrm>
          <a:prstGeom prst="roundRect">
            <a:avLst>
              <a:gd name="adj" fmla="val 4390"/>
            </a:avLst>
          </a:prstGeom>
          <a:ln>
            <a:solidFill>
              <a:sysClr val="window" lastClr="FFFFFF">
                <a:lumMod val="65000"/>
              </a:sysClr>
            </a:solidFill>
          </a:ln>
        </p:spPr>
      </p:pic>
      <p:sp>
        <p:nvSpPr>
          <p:cNvPr id="10" name="Espace réservé du texte 4">
            <a:extLst>
              <a:ext uri="{FF2B5EF4-FFF2-40B4-BE49-F238E27FC236}">
                <a16:creationId xmlns:a16="http://schemas.microsoft.com/office/drawing/2014/main" id="{0CDD6452-2571-46B0-9932-9074BECB0009}"/>
              </a:ext>
            </a:extLst>
          </p:cNvPr>
          <p:cNvSpPr txBox="1">
            <a:spLocks/>
          </p:cNvSpPr>
          <p:nvPr/>
        </p:nvSpPr>
        <p:spPr>
          <a:xfrm>
            <a:off x="3396095" y="1564015"/>
            <a:ext cx="1265267" cy="402145"/>
          </a:xfrm>
          <a:prstGeom prst="roundRect">
            <a:avLst/>
          </a:prstGeom>
          <a:solidFill>
            <a:srgbClr val="F3F3F3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lang="fr-FR" sz="2400" b="1" kern="1200" dirty="0" smtClean="0">
                <a:solidFill>
                  <a:srgbClr val="263038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42900" indent="-342900" algn="l" defTabSz="914400" rtl="0" eaLnBrk="1" latinLnBrk="0" hangingPunct="1">
              <a:spcBef>
                <a:spcPct val="20000"/>
              </a:spcBef>
              <a:buFontTx/>
              <a:buBlip>
                <a:blip r:embed="rId7"/>
              </a:buBlip>
              <a:defRPr sz="2000" kern="1200">
                <a:solidFill>
                  <a:srgbClr val="56B3E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rgbClr val="2630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77913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rgbClr val="2630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7913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rgbClr val="26303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63B5E5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Achat</a:t>
            </a:r>
          </a:p>
        </p:txBody>
      </p:sp>
      <p:sp>
        <p:nvSpPr>
          <p:cNvPr id="11" name="Espace réservé du texte 4">
            <a:extLst>
              <a:ext uri="{FF2B5EF4-FFF2-40B4-BE49-F238E27FC236}">
                <a16:creationId xmlns:a16="http://schemas.microsoft.com/office/drawing/2014/main" id="{7B9E5D5D-D4D9-4819-BB82-C4C22F1CA6FD}"/>
              </a:ext>
            </a:extLst>
          </p:cNvPr>
          <p:cNvSpPr txBox="1">
            <a:spLocks/>
          </p:cNvSpPr>
          <p:nvPr/>
        </p:nvSpPr>
        <p:spPr>
          <a:xfrm>
            <a:off x="4792929" y="1564014"/>
            <a:ext cx="1232820" cy="402146"/>
          </a:xfrm>
          <a:prstGeom prst="roundRect">
            <a:avLst/>
          </a:prstGeom>
          <a:solidFill>
            <a:srgbClr val="F3F3F3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>
              <a:defRPr b="1">
                <a:solidFill>
                  <a:srgbClr val="63B5E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63B5E5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Chargement</a:t>
            </a:r>
          </a:p>
        </p:txBody>
      </p:sp>
      <p:sp>
        <p:nvSpPr>
          <p:cNvPr id="12" name="Espace réservé du texte 4">
            <a:extLst>
              <a:ext uri="{FF2B5EF4-FFF2-40B4-BE49-F238E27FC236}">
                <a16:creationId xmlns:a16="http://schemas.microsoft.com/office/drawing/2014/main" id="{B1F6885F-3328-42BD-97F1-E6F1B9CA6241}"/>
              </a:ext>
            </a:extLst>
          </p:cNvPr>
          <p:cNvSpPr txBox="1">
            <a:spLocks/>
          </p:cNvSpPr>
          <p:nvPr/>
        </p:nvSpPr>
        <p:spPr>
          <a:xfrm>
            <a:off x="6157316" y="1564015"/>
            <a:ext cx="1396833" cy="402145"/>
          </a:xfrm>
          <a:prstGeom prst="roundRect">
            <a:avLst/>
          </a:prstGeom>
          <a:solidFill>
            <a:srgbClr val="F3F3F3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>
              <a:defRPr b="1">
                <a:solidFill>
                  <a:srgbClr val="63B5E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63B5E5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Voyag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7274C47-95C5-4000-8887-3C831BFC66D1}"/>
              </a:ext>
            </a:extLst>
          </p:cNvPr>
          <p:cNvSpPr txBox="1">
            <a:spLocks/>
          </p:cNvSpPr>
          <p:nvPr/>
        </p:nvSpPr>
        <p:spPr>
          <a:xfrm>
            <a:off x="7685716" y="1564014"/>
            <a:ext cx="1232820" cy="402146"/>
          </a:xfrm>
          <a:prstGeom prst="roundRect">
            <a:avLst/>
          </a:prstGeom>
          <a:solidFill>
            <a:srgbClr val="F3F3F3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>
              <a:defRPr b="1">
                <a:solidFill>
                  <a:srgbClr val="63B5E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63B5E5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AV / FAQ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C19375F7-DDC9-4135-AD72-438DCEAE2163}"/>
              </a:ext>
            </a:extLst>
          </p:cNvPr>
          <p:cNvSpPr txBox="1">
            <a:spLocks/>
          </p:cNvSpPr>
          <p:nvPr/>
        </p:nvSpPr>
        <p:spPr>
          <a:xfrm>
            <a:off x="268782" y="1564016"/>
            <a:ext cx="1265267" cy="402145"/>
          </a:xfrm>
          <a:prstGeom prst="roundRect">
            <a:avLst/>
          </a:prstGeom>
          <a:solidFill>
            <a:srgbClr val="F3F3F3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>
              <a:defRPr b="1">
                <a:solidFill>
                  <a:srgbClr val="63B5E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63B5E5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Installation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D1B83DCF-7448-45BC-8567-9A78CE30F367}"/>
              </a:ext>
            </a:extLst>
          </p:cNvPr>
          <p:cNvSpPr txBox="1">
            <a:spLocks/>
          </p:cNvSpPr>
          <p:nvPr/>
        </p:nvSpPr>
        <p:spPr>
          <a:xfrm>
            <a:off x="1686838" y="1564013"/>
            <a:ext cx="1528400" cy="402146"/>
          </a:xfrm>
          <a:prstGeom prst="roundRect">
            <a:avLst/>
          </a:prstGeom>
          <a:solidFill>
            <a:srgbClr val="F3F3F3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45720" rIns="7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>
              <a:defRPr b="1">
                <a:solidFill>
                  <a:srgbClr val="63B5E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srgbClr val="63B5E5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Authentification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33437C0-D192-46A8-9667-4EAEEE6CDFC6}"/>
              </a:ext>
            </a:extLst>
          </p:cNvPr>
          <p:cNvCxnSpPr/>
          <p:nvPr/>
        </p:nvCxnSpPr>
        <p:spPr>
          <a:xfrm>
            <a:off x="268783" y="2106770"/>
            <a:ext cx="8604000" cy="0"/>
          </a:xfrm>
          <a:prstGeom prst="line">
            <a:avLst/>
          </a:prstGeom>
          <a:noFill/>
          <a:ln w="22225" cap="rnd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</p:cxnSp>
      <p:pic>
        <p:nvPicPr>
          <p:cNvPr id="17" name="Picture 2" descr="Image associÃ©e">
            <a:extLst>
              <a:ext uri="{FF2B5EF4-FFF2-40B4-BE49-F238E27FC236}">
                <a16:creationId xmlns:a16="http://schemas.microsoft.com/office/drawing/2014/main" id="{7ABBD10C-1B83-4750-BFD1-5255AD7AC0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53053" y="2242232"/>
            <a:ext cx="1401096" cy="2195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89346DF6-5CCB-4FCD-8EF5-47A35EF9AE3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92928" y="2242232"/>
            <a:ext cx="1232820" cy="1980488"/>
          </a:xfrm>
          <a:prstGeom prst="rect">
            <a:avLst/>
          </a:prstGeom>
        </p:spPr>
      </p:pic>
      <p:pic>
        <p:nvPicPr>
          <p:cNvPr id="20" name="Image 3" descr="Transports : pas d'augmentation du passe Navigo en 2019 | Région ...">
            <a:extLst>
              <a:ext uri="{FF2B5EF4-FFF2-40B4-BE49-F238E27FC236}">
                <a16:creationId xmlns:a16="http://schemas.microsoft.com/office/drawing/2014/main" id="{D45B0727-9D0C-4551-87BC-0E6B5D939C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r:link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8110" y="4573325"/>
            <a:ext cx="1395732" cy="942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E076DBFA-E6A1-440C-821D-3DE14213A9C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686837" y="2267434"/>
            <a:ext cx="1528401" cy="2483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7323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Ellipse 63">
            <a:extLst>
              <a:ext uri="{FF2B5EF4-FFF2-40B4-BE49-F238E27FC236}">
                <a16:creationId xmlns:a16="http://schemas.microsoft.com/office/drawing/2014/main" id="{4589BA71-55B9-AD91-922A-DB23F5FD526F}"/>
              </a:ext>
            </a:extLst>
          </p:cNvPr>
          <p:cNvSpPr/>
          <p:nvPr/>
        </p:nvSpPr>
        <p:spPr>
          <a:xfrm>
            <a:off x="5549834" y="1946751"/>
            <a:ext cx="498052" cy="468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B6E8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B0B7D70B-9DD6-3D7A-CFC6-0DBB96175F3B}"/>
              </a:ext>
            </a:extLst>
          </p:cNvPr>
          <p:cNvSpPr/>
          <p:nvPr/>
        </p:nvSpPr>
        <p:spPr>
          <a:xfrm>
            <a:off x="3532564" y="1903781"/>
            <a:ext cx="498052" cy="468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B6E8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9220" name="Picture 4" descr="Smartphone PNG Images HD | PNG Play">
            <a:extLst>
              <a:ext uri="{FF2B5EF4-FFF2-40B4-BE49-F238E27FC236}">
                <a16:creationId xmlns:a16="http://schemas.microsoft.com/office/drawing/2014/main" id="{F7E21175-8900-4220-9D2E-674606022D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913759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space réservé du texte 3">
            <a:extLst>
              <a:ext uri="{FF2B5EF4-FFF2-40B4-BE49-F238E27FC236}">
                <a16:creationId xmlns:a16="http://schemas.microsoft.com/office/drawing/2014/main" id="{5A219F37-ECF8-4E88-B698-ED3A742E1D9A}"/>
              </a:ext>
            </a:extLst>
          </p:cNvPr>
          <p:cNvSpPr txBox="1">
            <a:spLocks/>
          </p:cNvSpPr>
          <p:nvPr/>
        </p:nvSpPr>
        <p:spPr>
          <a:xfrm>
            <a:off x="356676" y="654477"/>
            <a:ext cx="8528013" cy="6082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1" kern="1200">
                <a:solidFill>
                  <a:srgbClr val="00B0F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800" dirty="0"/>
              <a:t>L’application </a:t>
            </a:r>
            <a:r>
              <a:rPr lang="fr-FR" sz="1800" dirty="0" err="1"/>
              <a:t>MaaS</a:t>
            </a:r>
            <a:r>
              <a:rPr lang="fr-FR" sz="1800" dirty="0"/>
              <a:t> développée par Île-de-France Mobilités propose de nombreuses fonctionnalités liées aux autres modes de transports hors TC, progressivement intégrés à l’application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2B7C50B6-B188-4371-92A3-ED647D24FFE1}"/>
              </a:ext>
            </a:extLst>
          </p:cNvPr>
          <p:cNvCxnSpPr>
            <a:cxnSpLocks/>
            <a:endCxn id="26" idx="5"/>
          </p:cNvCxnSpPr>
          <p:nvPr/>
        </p:nvCxnSpPr>
        <p:spPr>
          <a:xfrm flipH="1" flipV="1">
            <a:off x="2395133" y="4297016"/>
            <a:ext cx="2104896" cy="794586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7E5B3201-DB8D-49A0-84F8-26EA3FDFC619}"/>
              </a:ext>
            </a:extLst>
          </p:cNvPr>
          <p:cNvCxnSpPr>
            <a:cxnSpLocks/>
            <a:endCxn id="52" idx="4"/>
          </p:cNvCxnSpPr>
          <p:nvPr/>
        </p:nvCxnSpPr>
        <p:spPr>
          <a:xfrm flipV="1">
            <a:off x="4472316" y="2406049"/>
            <a:ext cx="349297" cy="1953231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B3043E6D-620F-4DC2-BE6C-9C85750C955F}"/>
              </a:ext>
            </a:extLst>
          </p:cNvPr>
          <p:cNvCxnSpPr>
            <a:cxnSpLocks/>
          </p:cNvCxnSpPr>
          <p:nvPr/>
        </p:nvCxnSpPr>
        <p:spPr>
          <a:xfrm flipH="1" flipV="1">
            <a:off x="3819052" y="2406049"/>
            <a:ext cx="888501" cy="1942566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EFA439EF-7657-4A65-8955-1325FB060F8C}"/>
              </a:ext>
            </a:extLst>
          </p:cNvPr>
          <p:cNvCxnSpPr>
            <a:cxnSpLocks/>
          </p:cNvCxnSpPr>
          <p:nvPr/>
        </p:nvCxnSpPr>
        <p:spPr>
          <a:xfrm flipV="1">
            <a:off x="4487749" y="2406049"/>
            <a:ext cx="1302081" cy="1980012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CD776C5B-12DE-4124-A0B0-00413D8DFE5E}"/>
              </a:ext>
            </a:extLst>
          </p:cNvPr>
          <p:cNvCxnSpPr>
            <a:cxnSpLocks/>
            <a:endCxn id="43" idx="5"/>
          </p:cNvCxnSpPr>
          <p:nvPr/>
        </p:nvCxnSpPr>
        <p:spPr>
          <a:xfrm flipH="1" flipV="1">
            <a:off x="2358015" y="3516069"/>
            <a:ext cx="2183826" cy="1426228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>
            <a:extLst>
              <a:ext uri="{FF2B5EF4-FFF2-40B4-BE49-F238E27FC236}">
                <a16:creationId xmlns:a16="http://schemas.microsoft.com/office/drawing/2014/main" id="{653E495C-B181-42BC-94F5-1A22E15E3583}"/>
              </a:ext>
            </a:extLst>
          </p:cNvPr>
          <p:cNvCxnSpPr>
            <a:cxnSpLocks/>
            <a:endCxn id="40" idx="5"/>
          </p:cNvCxnSpPr>
          <p:nvPr/>
        </p:nvCxnSpPr>
        <p:spPr>
          <a:xfrm flipH="1" flipV="1">
            <a:off x="2342238" y="2580467"/>
            <a:ext cx="2141116" cy="2062382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B56F8BEB-DA44-46D1-B984-7C7C284712D6}"/>
              </a:ext>
            </a:extLst>
          </p:cNvPr>
          <p:cNvCxnSpPr>
            <a:cxnSpLocks/>
            <a:stCxn id="60" idx="2"/>
            <a:endCxn id="34" idx="5"/>
          </p:cNvCxnSpPr>
          <p:nvPr/>
        </p:nvCxnSpPr>
        <p:spPr>
          <a:xfrm flipH="1" flipV="1">
            <a:off x="3143317" y="2337512"/>
            <a:ext cx="1440385" cy="2574658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8A17A038-177E-45E2-A9E6-BAA8A8075B01}"/>
              </a:ext>
            </a:extLst>
          </p:cNvPr>
          <p:cNvCxnSpPr>
            <a:cxnSpLocks/>
            <a:stCxn id="60" idx="2"/>
            <a:endCxn id="37" idx="6"/>
          </p:cNvCxnSpPr>
          <p:nvPr/>
        </p:nvCxnSpPr>
        <p:spPr>
          <a:xfrm flipH="1" flipV="1">
            <a:off x="2466326" y="4912077"/>
            <a:ext cx="2117376" cy="93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4C561711-4C1A-45B7-8D4C-C028D9727F71}"/>
              </a:ext>
            </a:extLst>
          </p:cNvPr>
          <p:cNvCxnSpPr>
            <a:cxnSpLocks/>
            <a:stCxn id="60" idx="2"/>
            <a:endCxn id="46" idx="2"/>
          </p:cNvCxnSpPr>
          <p:nvPr/>
        </p:nvCxnSpPr>
        <p:spPr>
          <a:xfrm>
            <a:off x="4583702" y="4912170"/>
            <a:ext cx="2013637" cy="2599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>
            <a:extLst>
              <a:ext uri="{FF2B5EF4-FFF2-40B4-BE49-F238E27FC236}">
                <a16:creationId xmlns:a16="http://schemas.microsoft.com/office/drawing/2014/main" id="{99F1DB98-C83C-4B5D-A8F2-98145069FA47}"/>
              </a:ext>
            </a:extLst>
          </p:cNvPr>
          <p:cNvCxnSpPr>
            <a:cxnSpLocks/>
            <a:endCxn id="31" idx="3"/>
          </p:cNvCxnSpPr>
          <p:nvPr/>
        </p:nvCxnSpPr>
        <p:spPr>
          <a:xfrm flipV="1">
            <a:off x="4496934" y="2563652"/>
            <a:ext cx="2152430" cy="2026703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23">
            <a:extLst>
              <a:ext uri="{FF2B5EF4-FFF2-40B4-BE49-F238E27FC236}">
                <a16:creationId xmlns:a16="http://schemas.microsoft.com/office/drawing/2014/main" id="{AE3F9661-431C-4732-888A-CC2C22B8183B}"/>
              </a:ext>
            </a:extLst>
          </p:cNvPr>
          <p:cNvCxnSpPr>
            <a:cxnSpLocks/>
            <a:endCxn id="76" idx="3"/>
          </p:cNvCxnSpPr>
          <p:nvPr/>
        </p:nvCxnSpPr>
        <p:spPr>
          <a:xfrm flipV="1">
            <a:off x="4480265" y="3322686"/>
            <a:ext cx="2193717" cy="1409385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D78C5F66-0014-40D1-8656-E8A38B7583A6}"/>
              </a:ext>
            </a:extLst>
          </p:cNvPr>
          <p:cNvCxnSpPr>
            <a:cxnSpLocks/>
            <a:stCxn id="60" idx="2"/>
            <a:endCxn id="55" idx="3"/>
          </p:cNvCxnSpPr>
          <p:nvPr/>
        </p:nvCxnSpPr>
        <p:spPr>
          <a:xfrm flipV="1">
            <a:off x="4583702" y="4230707"/>
            <a:ext cx="2082174" cy="681463"/>
          </a:xfrm>
          <a:prstGeom prst="line">
            <a:avLst/>
          </a:prstGeom>
          <a:ln w="19050">
            <a:solidFill>
              <a:srgbClr val="64B5E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Ellipse 25">
            <a:extLst>
              <a:ext uri="{FF2B5EF4-FFF2-40B4-BE49-F238E27FC236}">
                <a16:creationId xmlns:a16="http://schemas.microsoft.com/office/drawing/2014/main" id="{04EAE750-0A4A-49C5-8030-C3DEF97AD54B}"/>
              </a:ext>
            </a:extLst>
          </p:cNvPr>
          <p:cNvSpPr/>
          <p:nvPr/>
        </p:nvSpPr>
        <p:spPr>
          <a:xfrm>
            <a:off x="1995670" y="3897553"/>
            <a:ext cx="468000" cy="468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B6E8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7" name="Groupe 26">
            <a:extLst>
              <a:ext uri="{FF2B5EF4-FFF2-40B4-BE49-F238E27FC236}">
                <a16:creationId xmlns:a16="http://schemas.microsoft.com/office/drawing/2014/main" id="{A4B996FF-0A7E-4818-B4F3-98B96C3016D5}"/>
              </a:ext>
            </a:extLst>
          </p:cNvPr>
          <p:cNvGrpSpPr>
            <a:grpSpLocks noChangeAspect="1"/>
          </p:cNvGrpSpPr>
          <p:nvPr/>
        </p:nvGrpSpPr>
        <p:grpSpPr>
          <a:xfrm>
            <a:off x="2092080" y="4006363"/>
            <a:ext cx="275181" cy="250380"/>
            <a:chOff x="3334570" y="2093232"/>
            <a:chExt cx="561243" cy="564759"/>
          </a:xfrm>
        </p:grpSpPr>
        <p:pic>
          <p:nvPicPr>
            <p:cNvPr id="28" name="Picture 40" descr="RÃ©sultat de recherche d'images pour &quot;bus picto&quot;">
              <a:extLst>
                <a:ext uri="{FF2B5EF4-FFF2-40B4-BE49-F238E27FC236}">
                  <a16:creationId xmlns:a16="http://schemas.microsoft.com/office/drawing/2014/main" id="{B3406B02-CB4F-4CD5-9F30-3ED34FF4243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592" b="14937"/>
            <a:stretch/>
          </p:blipFill>
          <p:spPr bwMode="auto">
            <a:xfrm>
              <a:off x="3511825" y="2341766"/>
              <a:ext cx="383988" cy="316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6" descr="Image associÃ©e">
              <a:extLst>
                <a:ext uri="{FF2B5EF4-FFF2-40B4-BE49-F238E27FC236}">
                  <a16:creationId xmlns:a16="http://schemas.microsoft.com/office/drawing/2014/main" id="{9F6A66EB-6825-40E3-BBB3-1373E4F4F5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34570" y="2093232"/>
              <a:ext cx="302220" cy="302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512AEB31-840F-4BA2-AF6B-69C732090E2F}"/>
              </a:ext>
            </a:extLst>
          </p:cNvPr>
          <p:cNvSpPr/>
          <p:nvPr/>
        </p:nvSpPr>
        <p:spPr>
          <a:xfrm>
            <a:off x="465272" y="3997188"/>
            <a:ext cx="1392945" cy="307777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fr-FR" sz="1400" b="1">
                <a:solidFill>
                  <a:srgbClr val="4472C4"/>
                </a:solidFill>
              </a:rPr>
              <a:t>Transport public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2AF6E221-C6DD-45D8-ADB6-9E7236B36AA8}"/>
              </a:ext>
            </a:extLst>
          </p:cNvPr>
          <p:cNvSpPr/>
          <p:nvPr/>
        </p:nvSpPr>
        <p:spPr>
          <a:xfrm>
            <a:off x="6580827" y="2164189"/>
            <a:ext cx="468000" cy="468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2" name="Picture 32" descr="RÃ©sultat de recherche d'images pour &quot;VTC picto&quot;">
            <a:extLst>
              <a:ext uri="{FF2B5EF4-FFF2-40B4-BE49-F238E27FC236}">
                <a16:creationId xmlns:a16="http://schemas.microsoft.com/office/drawing/2014/main" id="{BCD0269D-6248-431F-BC28-34EC18CA3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41761" y="2241702"/>
            <a:ext cx="346133" cy="312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1E17452B-EDC6-4B07-A2EF-D22C7F9E282E}"/>
              </a:ext>
            </a:extLst>
          </p:cNvPr>
          <p:cNvSpPr/>
          <p:nvPr/>
        </p:nvSpPr>
        <p:spPr>
          <a:xfrm>
            <a:off x="7115100" y="2193921"/>
            <a:ext cx="1769589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fr-FR" sz="1400" b="1">
                <a:solidFill>
                  <a:schemeClr val="accent1"/>
                </a:solidFill>
              </a:rPr>
              <a:t>Taxi et VTC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E818C093-DDBF-47AC-BC0B-2AF3D1A3C265}"/>
              </a:ext>
            </a:extLst>
          </p:cNvPr>
          <p:cNvSpPr/>
          <p:nvPr/>
        </p:nvSpPr>
        <p:spPr>
          <a:xfrm>
            <a:off x="2743854" y="1938049"/>
            <a:ext cx="468000" cy="468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B6E8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5" name="Picture 34" descr="RÃ©sultat de recherche d'images pour &quot;car picto&quot;">
            <a:extLst>
              <a:ext uri="{FF2B5EF4-FFF2-40B4-BE49-F238E27FC236}">
                <a16:creationId xmlns:a16="http://schemas.microsoft.com/office/drawing/2014/main" id="{A40FFE96-B6A6-41A7-B00C-F10D72394F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452"/>
          <a:stretch/>
        </p:blipFill>
        <p:spPr bwMode="auto">
          <a:xfrm>
            <a:off x="2756657" y="2031211"/>
            <a:ext cx="442395" cy="281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BE317E8C-E493-4468-9B09-952F699A78AF}"/>
              </a:ext>
            </a:extLst>
          </p:cNvPr>
          <p:cNvSpPr/>
          <p:nvPr/>
        </p:nvSpPr>
        <p:spPr>
          <a:xfrm>
            <a:off x="2130127" y="1574304"/>
            <a:ext cx="1117037" cy="307777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r"/>
            <a:r>
              <a:rPr lang="fr-FR" sz="1400" b="1">
                <a:solidFill>
                  <a:schemeClr val="accent1"/>
                </a:solidFill>
              </a:rPr>
              <a:t>Autopartage</a:t>
            </a: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C8F10D04-B4C3-4396-A9B6-8268282C8F59}"/>
              </a:ext>
            </a:extLst>
          </p:cNvPr>
          <p:cNvSpPr/>
          <p:nvPr/>
        </p:nvSpPr>
        <p:spPr>
          <a:xfrm>
            <a:off x="1998326" y="4678077"/>
            <a:ext cx="468000" cy="468000"/>
          </a:xfrm>
          <a:prstGeom prst="ellipse">
            <a:avLst/>
          </a:prstGeom>
          <a:noFill/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8" name="Picture 38" descr="RÃ©sultat de recherche d'images pour &quot;transport a la demande picto&quot;">
            <a:extLst>
              <a:ext uri="{FF2B5EF4-FFF2-40B4-BE49-F238E27FC236}">
                <a16:creationId xmlns:a16="http://schemas.microsoft.com/office/drawing/2014/main" id="{3FAED22F-8228-4202-966E-3DC3E87A78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46" t="2235" r="1471" b="2952"/>
          <a:stretch/>
        </p:blipFill>
        <p:spPr bwMode="auto">
          <a:xfrm>
            <a:off x="2091655" y="4786888"/>
            <a:ext cx="281342" cy="250379"/>
          </a:xfrm>
          <a:prstGeom prst="rect">
            <a:avLst/>
          </a:prstGeom>
          <a:noFill/>
          <a:ln w="285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3D00026A-3713-4993-9BF4-6A044D470B60}"/>
              </a:ext>
            </a:extLst>
          </p:cNvPr>
          <p:cNvSpPr/>
          <p:nvPr/>
        </p:nvSpPr>
        <p:spPr>
          <a:xfrm>
            <a:off x="384013" y="4669840"/>
            <a:ext cx="1514493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fr-FR" sz="1400" b="1">
                <a:solidFill>
                  <a:srgbClr val="4472C4"/>
                </a:solidFill>
              </a:rPr>
              <a:t>Transport public à la demande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DBC12FD6-4EEA-4992-9E07-091765126725}"/>
              </a:ext>
            </a:extLst>
          </p:cNvPr>
          <p:cNvSpPr/>
          <p:nvPr/>
        </p:nvSpPr>
        <p:spPr>
          <a:xfrm>
            <a:off x="1942775" y="2181004"/>
            <a:ext cx="468000" cy="468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B6E8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1" name="Picture 18" descr="RÃ©sultat de recherche d'images pour &quot;vÃ©lo picto&quot;">
            <a:extLst>
              <a:ext uri="{FF2B5EF4-FFF2-40B4-BE49-F238E27FC236}">
                <a16:creationId xmlns:a16="http://schemas.microsoft.com/office/drawing/2014/main" id="{B9BA8967-9BCB-440F-890D-99B5421D0F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8961" y="2336761"/>
            <a:ext cx="295629" cy="15648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93606C32-E7AF-4578-A66D-AFE96EB31AAB}"/>
              </a:ext>
            </a:extLst>
          </p:cNvPr>
          <p:cNvSpPr/>
          <p:nvPr/>
        </p:nvSpPr>
        <p:spPr>
          <a:xfrm>
            <a:off x="249218" y="2043334"/>
            <a:ext cx="156212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fr-FR" sz="1400" b="1" dirty="0">
                <a:solidFill>
                  <a:srgbClr val="4472C4"/>
                </a:solidFill>
              </a:rPr>
              <a:t>Vélo personnel</a:t>
            </a:r>
          </a:p>
          <a:p>
            <a:pPr algn="r"/>
            <a:r>
              <a:rPr lang="fr-FR" sz="1400" b="1" dirty="0">
                <a:solidFill>
                  <a:srgbClr val="4472C4"/>
                </a:solidFill>
              </a:rPr>
              <a:t>Et Vélo en Libre Service</a:t>
            </a:r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33C2DC9A-070E-472A-A80B-C3485EEE2F00}"/>
              </a:ext>
            </a:extLst>
          </p:cNvPr>
          <p:cNvSpPr/>
          <p:nvPr/>
        </p:nvSpPr>
        <p:spPr>
          <a:xfrm>
            <a:off x="1958552" y="3116606"/>
            <a:ext cx="468000" cy="468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B6E8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4" name="Picture 20" descr="RÃ©sultat de recherche d'images pour &quot;covoiturage picto&quot;">
            <a:extLst>
              <a:ext uri="{FF2B5EF4-FFF2-40B4-BE49-F238E27FC236}">
                <a16:creationId xmlns:a16="http://schemas.microsoft.com/office/drawing/2014/main" id="{409303B1-62F7-4162-A98E-D4E64336CB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3374" y="3219035"/>
            <a:ext cx="398356" cy="250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3B811B8A-3A74-4B33-A7C4-3DCF0E07784B}"/>
              </a:ext>
            </a:extLst>
          </p:cNvPr>
          <p:cNvSpPr/>
          <p:nvPr/>
        </p:nvSpPr>
        <p:spPr>
          <a:xfrm>
            <a:off x="740989" y="3229714"/>
            <a:ext cx="10790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400" b="1">
                <a:solidFill>
                  <a:srgbClr val="4472C4"/>
                </a:solidFill>
              </a:rPr>
              <a:t>Covoiturage</a:t>
            </a: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2B4B0C0E-3F47-47AA-9BAE-71B2C05448D7}"/>
              </a:ext>
            </a:extLst>
          </p:cNvPr>
          <p:cNvSpPr/>
          <p:nvPr/>
        </p:nvSpPr>
        <p:spPr>
          <a:xfrm>
            <a:off x="6597339" y="4680769"/>
            <a:ext cx="468000" cy="468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7" name="Picture 24" descr="RÃ©sultat de recherche d'images pour &quot;Parking relais picto&quot;">
            <a:extLst>
              <a:ext uri="{FF2B5EF4-FFF2-40B4-BE49-F238E27FC236}">
                <a16:creationId xmlns:a16="http://schemas.microsoft.com/office/drawing/2014/main" id="{46695F3D-A966-4C50-92F5-5404C82B9C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10193" y="4805228"/>
            <a:ext cx="242292" cy="219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3BC31F02-6AC2-45AA-B0F2-FE399D60D7D7}"/>
              </a:ext>
            </a:extLst>
          </p:cNvPr>
          <p:cNvSpPr/>
          <p:nvPr/>
        </p:nvSpPr>
        <p:spPr>
          <a:xfrm>
            <a:off x="7115100" y="4741398"/>
            <a:ext cx="17022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>
                <a:solidFill>
                  <a:schemeClr val="accent1"/>
                </a:solidFill>
              </a:rPr>
              <a:t>Parcs relai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E8B1E60-2AAD-4437-9ECC-88C1A2536436}"/>
              </a:ext>
            </a:extLst>
          </p:cNvPr>
          <p:cNvSpPr/>
          <p:nvPr/>
        </p:nvSpPr>
        <p:spPr>
          <a:xfrm>
            <a:off x="3011010" y="1541218"/>
            <a:ext cx="1447359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FR" sz="1400" b="1" dirty="0">
                <a:solidFill>
                  <a:schemeClr val="accent1"/>
                </a:solidFill>
              </a:rPr>
              <a:t>Scooters </a:t>
            </a:r>
          </a:p>
        </p:txBody>
      </p:sp>
      <p:pic>
        <p:nvPicPr>
          <p:cNvPr id="51" name="Graphique 50" descr="Scooter">
            <a:extLst>
              <a:ext uri="{FF2B5EF4-FFF2-40B4-BE49-F238E27FC236}">
                <a16:creationId xmlns:a16="http://schemas.microsoft.com/office/drawing/2014/main" id="{ED2FBF8C-5CFB-463C-8AC9-B98B4737F6A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46486" y="2014595"/>
            <a:ext cx="354611" cy="333214"/>
          </a:xfrm>
          <a:prstGeom prst="rect">
            <a:avLst/>
          </a:prstGeom>
        </p:spPr>
      </p:pic>
      <p:sp>
        <p:nvSpPr>
          <p:cNvPr id="52" name="Ellipse 51">
            <a:extLst>
              <a:ext uri="{FF2B5EF4-FFF2-40B4-BE49-F238E27FC236}">
                <a16:creationId xmlns:a16="http://schemas.microsoft.com/office/drawing/2014/main" id="{982C2C91-378F-4B40-A909-697884DBAE71}"/>
              </a:ext>
            </a:extLst>
          </p:cNvPr>
          <p:cNvSpPr/>
          <p:nvPr/>
        </p:nvSpPr>
        <p:spPr>
          <a:xfrm>
            <a:off x="4587613" y="1938049"/>
            <a:ext cx="468000" cy="468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32673BE-75D4-4946-852B-0538F78C7FC9}"/>
              </a:ext>
            </a:extLst>
          </p:cNvPr>
          <p:cNvSpPr/>
          <p:nvPr/>
        </p:nvSpPr>
        <p:spPr>
          <a:xfrm>
            <a:off x="4150408" y="1541218"/>
            <a:ext cx="1360027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fr-FR" sz="1400" b="1">
                <a:solidFill>
                  <a:schemeClr val="accent1"/>
                </a:solidFill>
              </a:rPr>
              <a:t>Trottinettes</a:t>
            </a:r>
          </a:p>
        </p:txBody>
      </p:sp>
      <p:pic>
        <p:nvPicPr>
          <p:cNvPr id="54" name="Picture 2" descr="Résultat de recherche d'images pour &quot;icone trottinette&quot;">
            <a:extLst>
              <a:ext uri="{FF2B5EF4-FFF2-40B4-BE49-F238E27FC236}">
                <a16:creationId xmlns:a16="http://schemas.microsoft.com/office/drawing/2014/main" id="{FDB2DEB9-4374-4309-BA43-88294EB8BF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6117" y="2066553"/>
            <a:ext cx="210993" cy="21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Ellipse 54">
            <a:extLst>
              <a:ext uri="{FF2B5EF4-FFF2-40B4-BE49-F238E27FC236}">
                <a16:creationId xmlns:a16="http://schemas.microsoft.com/office/drawing/2014/main" id="{988F578E-3B0C-469B-833F-0951F5F77F44}"/>
              </a:ext>
            </a:extLst>
          </p:cNvPr>
          <p:cNvSpPr/>
          <p:nvPr/>
        </p:nvSpPr>
        <p:spPr>
          <a:xfrm>
            <a:off x="6597339" y="3831244"/>
            <a:ext cx="468000" cy="468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1FF3390-A469-4550-BEB5-42677B1B42A4}"/>
              </a:ext>
            </a:extLst>
          </p:cNvPr>
          <p:cNvSpPr/>
          <p:nvPr/>
        </p:nvSpPr>
        <p:spPr>
          <a:xfrm>
            <a:off x="7115100" y="3788103"/>
            <a:ext cx="1769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dirty="0">
                <a:solidFill>
                  <a:schemeClr val="accent1"/>
                </a:solidFill>
              </a:rPr>
              <a:t>Calculateur multimodal prédictif</a:t>
            </a:r>
          </a:p>
        </p:txBody>
      </p:sp>
      <p:cxnSp>
        <p:nvCxnSpPr>
          <p:cNvPr id="57" name="Connecteur : en arc 56">
            <a:extLst>
              <a:ext uri="{FF2B5EF4-FFF2-40B4-BE49-F238E27FC236}">
                <a16:creationId xmlns:a16="http://schemas.microsoft.com/office/drawing/2014/main" id="{ECA7D145-4289-46C3-9FA2-DAEA21349E20}"/>
              </a:ext>
            </a:extLst>
          </p:cNvPr>
          <p:cNvCxnSpPr>
            <a:cxnSpLocks/>
          </p:cNvCxnSpPr>
          <p:nvPr/>
        </p:nvCxnSpPr>
        <p:spPr>
          <a:xfrm>
            <a:off x="6697225" y="3961009"/>
            <a:ext cx="268229" cy="208471"/>
          </a:xfrm>
          <a:prstGeom prst="curvedConnector3">
            <a:avLst>
              <a:gd name="adj1" fmla="val 50000"/>
            </a:avLst>
          </a:prstGeom>
          <a:ln w="28575"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Image 58" descr="Une image contenant horloge, signe, dessin&#10;&#10;Description générée automatiquement">
            <a:extLst>
              <a:ext uri="{FF2B5EF4-FFF2-40B4-BE49-F238E27FC236}">
                <a16:creationId xmlns:a16="http://schemas.microsoft.com/office/drawing/2014/main" id="{C9469C8C-F6B0-4B90-B854-2675B09D20AE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0880" y="3764707"/>
            <a:ext cx="1945642" cy="452959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60" name="Image 59" descr="Une image contenant texte&#10;&#10;Description générée automatiquement">
            <a:extLst>
              <a:ext uri="{FF2B5EF4-FFF2-40B4-BE49-F238E27FC236}">
                <a16:creationId xmlns:a16="http://schemas.microsoft.com/office/drawing/2014/main" id="{4B88F8FD-EF0E-4747-95E6-183AF5EA0933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407" b="79870"/>
          <a:stretch/>
        </p:blipFill>
        <p:spPr>
          <a:xfrm>
            <a:off x="3622894" y="4314906"/>
            <a:ext cx="1921615" cy="597264"/>
          </a:xfrm>
          <a:prstGeom prst="rect">
            <a:avLst/>
          </a:prstGeom>
        </p:spPr>
      </p:pic>
      <p:pic>
        <p:nvPicPr>
          <p:cNvPr id="62" name="Picture 22" descr="RÃ©sultat de recherche d'images pour &quot;marche picto&quot;">
            <a:extLst>
              <a:ext uri="{FF2B5EF4-FFF2-40B4-BE49-F238E27FC236}">
                <a16:creationId xmlns:a16="http://schemas.microsoft.com/office/drawing/2014/main" id="{8724772F-6EC9-400B-ABC7-B154D46080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34" r="16578"/>
          <a:stretch/>
        </p:blipFill>
        <p:spPr bwMode="auto">
          <a:xfrm>
            <a:off x="5701085" y="2085693"/>
            <a:ext cx="177489" cy="22865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230925D9-3191-45F2-8990-AC83DB3D530E}"/>
              </a:ext>
            </a:extLst>
          </p:cNvPr>
          <p:cNvSpPr/>
          <p:nvPr/>
        </p:nvSpPr>
        <p:spPr>
          <a:xfrm>
            <a:off x="5437302" y="1574304"/>
            <a:ext cx="7527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b="1">
                <a:solidFill>
                  <a:schemeClr val="accent1"/>
                </a:solidFill>
              </a:rPr>
              <a:t>Marche</a:t>
            </a:r>
          </a:p>
        </p:txBody>
      </p:sp>
      <p:pic>
        <p:nvPicPr>
          <p:cNvPr id="73" name="Graphique 72">
            <a:extLst>
              <a:ext uri="{FF2B5EF4-FFF2-40B4-BE49-F238E27FC236}">
                <a16:creationId xmlns:a16="http://schemas.microsoft.com/office/drawing/2014/main" id="{EEA4DAFA-B0C0-4C85-A594-7BE679DF6E5E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894001" y="5707604"/>
            <a:ext cx="242293" cy="240757"/>
          </a:xfrm>
          <a:prstGeom prst="rect">
            <a:avLst/>
          </a:prstGeom>
        </p:spPr>
      </p:pic>
      <p:sp>
        <p:nvSpPr>
          <p:cNvPr id="76" name="Ellipse 75">
            <a:extLst>
              <a:ext uri="{FF2B5EF4-FFF2-40B4-BE49-F238E27FC236}">
                <a16:creationId xmlns:a16="http://schemas.microsoft.com/office/drawing/2014/main" id="{2EFD4BAF-2251-4506-9BC1-AC16B3A2E322}"/>
              </a:ext>
            </a:extLst>
          </p:cNvPr>
          <p:cNvSpPr/>
          <p:nvPr/>
        </p:nvSpPr>
        <p:spPr>
          <a:xfrm>
            <a:off x="6605445" y="2923223"/>
            <a:ext cx="468000" cy="468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7" name="Picture 34" descr="RÃ©sultat de recherche d'images pour &quot;car picto&quot;">
            <a:extLst>
              <a:ext uri="{FF2B5EF4-FFF2-40B4-BE49-F238E27FC236}">
                <a16:creationId xmlns:a16="http://schemas.microsoft.com/office/drawing/2014/main" id="{16EA7064-AC1B-465B-B2D5-2278F31C20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452"/>
          <a:stretch/>
        </p:blipFill>
        <p:spPr bwMode="auto">
          <a:xfrm>
            <a:off x="6618248" y="3016385"/>
            <a:ext cx="442395" cy="281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77">
            <a:extLst>
              <a:ext uri="{FF2B5EF4-FFF2-40B4-BE49-F238E27FC236}">
                <a16:creationId xmlns:a16="http://schemas.microsoft.com/office/drawing/2014/main" id="{E5DCD32C-3791-41AD-A72C-79348ED0D230}"/>
              </a:ext>
            </a:extLst>
          </p:cNvPr>
          <p:cNvSpPr/>
          <p:nvPr/>
        </p:nvSpPr>
        <p:spPr>
          <a:xfrm>
            <a:off x="7115100" y="2999282"/>
            <a:ext cx="17797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>
                <a:solidFill>
                  <a:schemeClr val="accent1"/>
                </a:solidFill>
              </a:rPr>
              <a:t>Voiture individuell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2FDD356C-2A0A-452D-862B-FBFD42F81C92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12" t="31669" r="52621"/>
          <a:stretch/>
        </p:blipFill>
        <p:spPr>
          <a:xfrm>
            <a:off x="3616665" y="4175380"/>
            <a:ext cx="1934072" cy="3023188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1C6D5EFE-5CE0-4A0A-9A64-2ABDCD966E41}"/>
              </a:ext>
            </a:extLst>
          </p:cNvPr>
          <p:cNvSpPr txBox="1"/>
          <p:nvPr/>
        </p:nvSpPr>
        <p:spPr>
          <a:xfrm>
            <a:off x="840162" y="5522907"/>
            <a:ext cx="21164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/>
              <a:t>Intégré dans l’application IDFM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E2C40F2F-E0B3-4617-8D05-1A86275A8628}"/>
              </a:ext>
            </a:extLst>
          </p:cNvPr>
          <p:cNvSpPr txBox="1"/>
          <p:nvPr/>
        </p:nvSpPr>
        <p:spPr>
          <a:xfrm>
            <a:off x="840162" y="6214668"/>
            <a:ext cx="13450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/>
              <a:t>Non intégré à date</a:t>
            </a: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04119E1C-5496-499F-94D8-5F249B7C0DC0}"/>
              </a:ext>
            </a:extLst>
          </p:cNvPr>
          <p:cNvSpPr/>
          <p:nvPr/>
        </p:nvSpPr>
        <p:spPr>
          <a:xfrm>
            <a:off x="625890" y="6263167"/>
            <a:ext cx="180000" cy="18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EACC377F-9266-42BA-A5E4-0FB3950A4CCE}"/>
              </a:ext>
            </a:extLst>
          </p:cNvPr>
          <p:cNvSpPr txBox="1"/>
          <p:nvPr/>
        </p:nvSpPr>
        <p:spPr>
          <a:xfrm>
            <a:off x="840162" y="5868787"/>
            <a:ext cx="14362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/>
              <a:t>Intégration en cours</a:t>
            </a: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587DB6B5-42E9-4AE1-BF0C-10D06472E17C}"/>
              </a:ext>
            </a:extLst>
          </p:cNvPr>
          <p:cNvSpPr/>
          <p:nvPr/>
        </p:nvSpPr>
        <p:spPr>
          <a:xfrm>
            <a:off x="625890" y="5917286"/>
            <a:ext cx="180000" cy="180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8E361C76-1E0D-42BB-A817-2B0322233CF8}"/>
              </a:ext>
            </a:extLst>
          </p:cNvPr>
          <p:cNvSpPr/>
          <p:nvPr/>
        </p:nvSpPr>
        <p:spPr>
          <a:xfrm>
            <a:off x="625890" y="5571406"/>
            <a:ext cx="180000" cy="180000"/>
          </a:xfrm>
          <a:prstGeom prst="ellipse">
            <a:avLst/>
          </a:prstGeom>
          <a:solidFill>
            <a:schemeClr val="bg1"/>
          </a:solidFill>
          <a:ln w="28575">
            <a:solidFill>
              <a:srgbClr val="B6E8A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39201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3" name="Google Shape;203;p18" descr="Une image contenant texte&#10;&#10;Description générée automatiquement"/>
          <p:cNvPicPr preferRelativeResize="0"/>
          <p:nvPr/>
        </p:nvPicPr>
        <p:blipFill rotWithShape="1">
          <a:blip r:embed="rId3">
            <a:alphaModFix/>
          </a:blip>
          <a:srcRect b="39566"/>
          <a:stretch/>
        </p:blipFill>
        <p:spPr>
          <a:xfrm>
            <a:off x="277200" y="2844575"/>
            <a:ext cx="720000" cy="770400"/>
          </a:xfrm>
          <a:prstGeom prst="rect">
            <a:avLst/>
          </a:prstGeom>
          <a:noFill/>
          <a:ln w="38100" cap="flat" cmpd="sng">
            <a:solidFill>
              <a:srgbClr val="15395A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204" name="Google Shape;204;p18"/>
          <p:cNvSpPr/>
          <p:nvPr/>
        </p:nvSpPr>
        <p:spPr>
          <a:xfrm>
            <a:off x="197375" y="3602950"/>
            <a:ext cx="879900" cy="1269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cxnSp>
        <p:nvCxnSpPr>
          <p:cNvPr id="205" name="Google Shape;205;p18"/>
          <p:cNvCxnSpPr/>
          <p:nvPr/>
        </p:nvCxnSpPr>
        <p:spPr>
          <a:xfrm>
            <a:off x="201195" y="3602950"/>
            <a:ext cx="8721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206" name="Google Shape;206;p18"/>
          <p:cNvPicPr preferRelativeResize="0"/>
          <p:nvPr/>
        </p:nvPicPr>
        <p:blipFill rotWithShape="1">
          <a:blip r:embed="rId4">
            <a:alphaModFix/>
          </a:blip>
          <a:srcRect t="57657" r="57775"/>
          <a:stretch/>
        </p:blipFill>
        <p:spPr>
          <a:xfrm>
            <a:off x="5626775" y="857251"/>
            <a:ext cx="3517224" cy="1787699"/>
          </a:xfrm>
          <a:prstGeom prst="rect">
            <a:avLst/>
          </a:prstGeom>
          <a:noFill/>
          <a:ln>
            <a:noFill/>
          </a:ln>
        </p:spPr>
      </p:pic>
      <p:sp>
        <p:nvSpPr>
          <p:cNvPr id="207" name="Google Shape;207;p18"/>
          <p:cNvSpPr/>
          <p:nvPr/>
        </p:nvSpPr>
        <p:spPr>
          <a:xfrm>
            <a:off x="6852781" y="967734"/>
            <a:ext cx="2368500" cy="666000"/>
          </a:xfrm>
          <a:prstGeom prst="roundRect">
            <a:avLst>
              <a:gd name="adj" fmla="val 12657"/>
            </a:avLst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" sz="17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 Light"/>
              </a:rPr>
              <a:t>Mise en production</a:t>
            </a:r>
            <a:endParaRPr kumimoji="0" sz="17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" sz="1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Avril-Mai 2022</a:t>
            </a:r>
            <a:endParaRPr kumimoji="0" sz="1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208" name="Google Shape;208;p18"/>
          <p:cNvPicPr preferRelativeResize="0"/>
          <p:nvPr/>
        </p:nvPicPr>
        <p:blipFill rotWithShape="1">
          <a:blip r:embed="rId5">
            <a:alphaModFix/>
          </a:blip>
          <a:srcRect b="17871"/>
          <a:stretch/>
        </p:blipFill>
        <p:spPr>
          <a:xfrm>
            <a:off x="277200" y="3727147"/>
            <a:ext cx="720000" cy="1229171"/>
          </a:xfrm>
          <a:prstGeom prst="rect">
            <a:avLst/>
          </a:prstGeom>
          <a:noFill/>
          <a:ln w="38100" cap="flat" cmpd="sng">
            <a:solidFill>
              <a:srgbClr val="15395A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209" name="Google Shape;209;p18"/>
          <p:cNvSpPr/>
          <p:nvPr/>
        </p:nvSpPr>
        <p:spPr>
          <a:xfrm>
            <a:off x="256691" y="2118292"/>
            <a:ext cx="2088300" cy="528159"/>
          </a:xfrm>
          <a:prstGeom prst="roundRect">
            <a:avLst>
              <a:gd name="adj" fmla="val 11302"/>
            </a:avLst>
          </a:prstGeom>
          <a:solidFill>
            <a:srgbClr val="64B5F6"/>
          </a:solidFill>
          <a:ln>
            <a:noFill/>
          </a:ln>
        </p:spPr>
        <p:txBody>
          <a:bodyPr spcFirstLastPara="1" wrap="square" lIns="34275" tIns="17150" rIns="34275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Découverte du service dans l’app IDFM</a:t>
            </a:r>
            <a:endParaRPr kumimoji="0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0" name="Google Shape;210;p18"/>
          <p:cNvSpPr txBox="1"/>
          <p:nvPr/>
        </p:nvSpPr>
        <p:spPr>
          <a:xfrm>
            <a:off x="242906" y="5220450"/>
            <a:ext cx="384600" cy="3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" sz="3000" b="0" i="0" u="none" strike="noStrike" kern="0" cap="none" spc="0" normalizeH="0" baseline="0" noProof="0">
                <a:ln>
                  <a:noFill/>
                </a:ln>
                <a:solidFill>
                  <a:srgbClr val="DEEEFF"/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  <a:sym typeface="Open Sans ExtraBold"/>
              </a:rPr>
              <a:t>1</a:t>
            </a: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DEEEFF"/>
              </a:solidFill>
              <a:effectLst/>
              <a:uLnTx/>
              <a:uFillTx/>
              <a:latin typeface="Open Sans ExtraBold"/>
              <a:ea typeface="Open Sans ExtraBold"/>
              <a:cs typeface="Open Sans ExtraBold"/>
              <a:sym typeface="Open Sans ExtraBold"/>
            </a:endParaRPr>
          </a:p>
        </p:txBody>
      </p:sp>
      <p:sp>
        <p:nvSpPr>
          <p:cNvPr id="211" name="Google Shape;211;p18"/>
          <p:cNvSpPr/>
          <p:nvPr/>
        </p:nvSpPr>
        <p:spPr>
          <a:xfrm>
            <a:off x="2462766" y="2118292"/>
            <a:ext cx="1317300" cy="528159"/>
          </a:xfrm>
          <a:prstGeom prst="roundRect">
            <a:avLst>
              <a:gd name="adj" fmla="val 11302"/>
            </a:avLst>
          </a:prstGeom>
          <a:solidFill>
            <a:srgbClr val="64B5F6"/>
          </a:solidFill>
          <a:ln>
            <a:noFill/>
          </a:ln>
        </p:spPr>
        <p:txBody>
          <a:bodyPr spcFirstLastPara="1" wrap="square" lIns="34275" tIns="17150" rIns="34275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9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Une association du compte Communauto pour utiliser le service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2" name="Google Shape;212;p18"/>
          <p:cNvSpPr/>
          <p:nvPr/>
        </p:nvSpPr>
        <p:spPr>
          <a:xfrm>
            <a:off x="3897841" y="2118292"/>
            <a:ext cx="2088300" cy="528159"/>
          </a:xfrm>
          <a:prstGeom prst="roundRect">
            <a:avLst>
              <a:gd name="adj" fmla="val 11302"/>
            </a:avLst>
          </a:prstGeom>
          <a:solidFill>
            <a:srgbClr val="64B5F6"/>
          </a:solidFill>
          <a:ln>
            <a:noFill/>
          </a:ln>
        </p:spPr>
        <p:txBody>
          <a:bodyPr spcFirstLastPara="1" wrap="square" lIns="34275" tIns="17150" rIns="34275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9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Un parcours de réservation intégré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3" name="Google Shape;213;p18"/>
          <p:cNvSpPr/>
          <p:nvPr/>
        </p:nvSpPr>
        <p:spPr>
          <a:xfrm>
            <a:off x="6103914" y="2118642"/>
            <a:ext cx="1317600" cy="528159"/>
          </a:xfrm>
          <a:prstGeom prst="roundRect">
            <a:avLst>
              <a:gd name="adj" fmla="val 11302"/>
            </a:avLst>
          </a:prstGeom>
          <a:solidFill>
            <a:srgbClr val="15395A"/>
          </a:solidFill>
          <a:ln>
            <a:noFill/>
          </a:ln>
        </p:spPr>
        <p:txBody>
          <a:bodyPr spcFirstLastPara="1" wrap="square" lIns="34275" tIns="17150" rIns="34275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9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Le passe Navigo comme moyen de déverrouillage du véhicule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4" name="Google Shape;214;p18"/>
          <p:cNvSpPr txBox="1"/>
          <p:nvPr/>
        </p:nvSpPr>
        <p:spPr>
          <a:xfrm>
            <a:off x="3889057" y="5220450"/>
            <a:ext cx="384600" cy="3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" sz="3000" b="0" i="0" u="none" strike="noStrike" kern="0" cap="none" spc="0" normalizeH="0" baseline="0" noProof="0">
                <a:ln>
                  <a:noFill/>
                </a:ln>
                <a:solidFill>
                  <a:srgbClr val="DEEEFF"/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  <a:sym typeface="Open Sans ExtraBold"/>
              </a:rPr>
              <a:t>3</a:t>
            </a: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DEEEFF"/>
              </a:solidFill>
              <a:effectLst/>
              <a:uLnTx/>
              <a:uFillTx/>
              <a:latin typeface="Open Sans ExtraBold"/>
              <a:ea typeface="Open Sans ExtraBold"/>
              <a:cs typeface="Open Sans ExtraBold"/>
              <a:sym typeface="Open Sans ExtraBold"/>
            </a:endParaRPr>
          </a:p>
        </p:txBody>
      </p:sp>
      <p:sp>
        <p:nvSpPr>
          <p:cNvPr id="215" name="Google Shape;215;p18"/>
          <p:cNvSpPr txBox="1"/>
          <p:nvPr/>
        </p:nvSpPr>
        <p:spPr>
          <a:xfrm>
            <a:off x="2323507" y="5220450"/>
            <a:ext cx="385200" cy="3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" sz="3000" b="0" i="0" u="none" strike="noStrike" kern="0" cap="none" spc="0" normalizeH="0" baseline="0" noProof="0">
                <a:ln>
                  <a:noFill/>
                </a:ln>
                <a:solidFill>
                  <a:srgbClr val="DEEEFF"/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  <a:sym typeface="Open Sans ExtraBold"/>
              </a:rPr>
              <a:t>2</a:t>
            </a: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DEEEFF"/>
              </a:solidFill>
              <a:effectLst/>
              <a:uLnTx/>
              <a:uFillTx/>
              <a:latin typeface="Open Sans ExtraBold"/>
              <a:ea typeface="Open Sans ExtraBold"/>
              <a:cs typeface="Open Sans ExtraBold"/>
              <a:sym typeface="Open Sans ExtraBold"/>
            </a:endParaRPr>
          </a:p>
        </p:txBody>
      </p:sp>
      <p:sp>
        <p:nvSpPr>
          <p:cNvPr id="216" name="Google Shape;216;p18"/>
          <p:cNvSpPr txBox="1"/>
          <p:nvPr/>
        </p:nvSpPr>
        <p:spPr>
          <a:xfrm>
            <a:off x="256690" y="5386202"/>
            <a:ext cx="2088000" cy="2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  <a:t>La réservation d’un véhicule Communauto</a:t>
            </a:r>
            <a:br>
              <a:rPr kumimoji="0" lang="fr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</a:br>
            <a:r>
              <a:rPr kumimoji="0" lang="fr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  <a:t>est accessible depuis la carte À proximité</a:t>
            </a:r>
            <a:br>
              <a:rPr kumimoji="0" lang="fr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</a:br>
            <a:r>
              <a:rPr kumimoji="0" lang="fr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  <a:t>et la rubrique Achat dans l’app IDFM</a:t>
            </a: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217" name="Google Shape;217;p18"/>
          <p:cNvSpPr txBox="1"/>
          <p:nvPr/>
        </p:nvSpPr>
        <p:spPr>
          <a:xfrm>
            <a:off x="2440500" y="5386050"/>
            <a:ext cx="1440000" cy="55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  <a:t>A la première utilisation, l’usager associe son compte </a:t>
            </a: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7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Île-de-France Mobilités Connect</a:t>
            </a:r>
            <a:r>
              <a:rPr kumimoji="0" lang="fr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  <a:t> ou s'inscrit chez Communauto pour pouvoir utiliser le service depuis l’App IDFM</a:t>
            </a: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218" name="Google Shape;218;p18"/>
          <p:cNvSpPr txBox="1"/>
          <p:nvPr/>
        </p:nvSpPr>
        <p:spPr>
          <a:xfrm>
            <a:off x="5886837" y="5220450"/>
            <a:ext cx="384600" cy="3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" sz="3000" b="0" i="0" u="none" strike="noStrike" kern="0" cap="none" spc="0" normalizeH="0" baseline="0" noProof="0">
                <a:ln>
                  <a:noFill/>
                </a:ln>
                <a:solidFill>
                  <a:srgbClr val="DEEEFF"/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  <a:sym typeface="Open Sans ExtraBold"/>
              </a:rPr>
              <a:t>4</a:t>
            </a: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DEEEFF"/>
              </a:solidFill>
              <a:effectLst/>
              <a:uLnTx/>
              <a:uFillTx/>
              <a:latin typeface="Open Sans ExtraBold"/>
              <a:ea typeface="Open Sans ExtraBold"/>
              <a:cs typeface="Open Sans ExtraBold"/>
              <a:sym typeface="Open Sans ExtraBold"/>
            </a:endParaRPr>
          </a:p>
        </p:txBody>
      </p:sp>
      <p:sp>
        <p:nvSpPr>
          <p:cNvPr id="219" name="Google Shape;219;p18"/>
          <p:cNvSpPr txBox="1"/>
          <p:nvPr/>
        </p:nvSpPr>
        <p:spPr>
          <a:xfrm>
            <a:off x="4032300" y="5386050"/>
            <a:ext cx="1801500" cy="29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  <a:t>L’usager peut choisir un véhicule (modèle, durée) et le réserver. Il retrouve l’état de sa réservation sur l’accueil de l’app IDFM</a:t>
            </a: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220" name="Google Shape;220;p18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558494" y="2816000"/>
            <a:ext cx="1279200" cy="2340000"/>
          </a:xfrm>
          <a:prstGeom prst="rect">
            <a:avLst/>
          </a:prstGeom>
          <a:noFill/>
          <a:ln w="38100" cap="flat" cmpd="sng">
            <a:solidFill>
              <a:srgbClr val="15395A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221" name="Google Shape;221;p18"/>
          <p:cNvSpPr txBox="1"/>
          <p:nvPr/>
        </p:nvSpPr>
        <p:spPr>
          <a:xfrm>
            <a:off x="6103316" y="5385752"/>
            <a:ext cx="1317600" cy="37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  <a:t>L’usager peut déverrouiller le véhicule réservé via son Passe Navigo préenregistré </a:t>
            </a: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sp>
        <p:nvSpPr>
          <p:cNvPr id="222" name="Google Shape;222;p18"/>
          <p:cNvSpPr/>
          <p:nvPr/>
        </p:nvSpPr>
        <p:spPr>
          <a:xfrm>
            <a:off x="7539278" y="2118642"/>
            <a:ext cx="1317600" cy="528159"/>
          </a:xfrm>
          <a:prstGeom prst="roundRect">
            <a:avLst>
              <a:gd name="adj" fmla="val 11302"/>
            </a:avLst>
          </a:prstGeom>
          <a:solidFill>
            <a:srgbClr val="64B5F6"/>
          </a:solidFill>
          <a:ln>
            <a:noFill/>
          </a:ln>
        </p:spPr>
        <p:txBody>
          <a:bodyPr spcFirstLastPara="1" wrap="square" lIns="34275" tIns="17150" rIns="34275" bIns="1715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9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Neue"/>
                <a:ea typeface="Helvetica Neue"/>
                <a:cs typeface="Helvetica Neue"/>
                <a:sym typeface="Helvetica Neue"/>
              </a:rPr>
              <a:t>Une rubrique dédiée à la gestion des réservations</a:t>
            </a:r>
            <a:endParaRPr kumimoji="0" sz="9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pSp>
        <p:nvGrpSpPr>
          <p:cNvPr id="223" name="Google Shape;223;p18"/>
          <p:cNvGrpSpPr/>
          <p:nvPr/>
        </p:nvGrpSpPr>
        <p:grpSpPr>
          <a:xfrm>
            <a:off x="1139634" y="2844573"/>
            <a:ext cx="1155016" cy="1898791"/>
            <a:chOff x="1949100" y="700674"/>
            <a:chExt cx="1354381" cy="2336399"/>
          </a:xfrm>
        </p:grpSpPr>
        <p:pic>
          <p:nvPicPr>
            <p:cNvPr id="224" name="Google Shape;224;p18"/>
            <p:cNvPicPr preferRelativeResize="0"/>
            <p:nvPr/>
          </p:nvPicPr>
          <p:blipFill rotWithShape="1">
            <a:blip r:embed="rId7">
              <a:alphaModFix/>
            </a:blip>
            <a:srcRect t="8533"/>
            <a:stretch/>
          </p:blipFill>
          <p:spPr>
            <a:xfrm>
              <a:off x="1949100" y="700674"/>
              <a:ext cx="1354381" cy="2336399"/>
            </a:xfrm>
            <a:prstGeom prst="rect">
              <a:avLst/>
            </a:prstGeom>
            <a:noFill/>
            <a:ln w="38100" cap="flat" cmpd="sng">
              <a:solidFill>
                <a:srgbClr val="15395A"/>
              </a:solidFill>
              <a:prstDash val="solid"/>
              <a:round/>
              <a:headEnd type="none" w="sm" len="sm"/>
              <a:tailEnd type="none" w="sm" len="sm"/>
            </a:ln>
          </p:spPr>
        </p:pic>
        <p:pic>
          <p:nvPicPr>
            <p:cNvPr id="225" name="Google Shape;225;p18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2654153" y="1048922"/>
              <a:ext cx="103114" cy="1049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6" name="Google Shape;226;p18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3025628" y="1401347"/>
              <a:ext cx="103114" cy="1049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7" name="Google Shape;227;p18"/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2399353" y="836597"/>
              <a:ext cx="103114" cy="104975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28" name="Google Shape;228;p18" descr="Tarif Travail - Communauto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5848140" y="4079517"/>
            <a:ext cx="1556952" cy="887127"/>
          </a:xfrm>
          <a:prstGeom prst="rect">
            <a:avLst/>
          </a:prstGeom>
          <a:noFill/>
          <a:ln>
            <a:noFill/>
          </a:ln>
        </p:spPr>
      </p:pic>
      <p:pic>
        <p:nvPicPr>
          <p:cNvPr id="229" name="Google Shape;229;p18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2512001" y="2816000"/>
            <a:ext cx="1205100" cy="2340000"/>
          </a:xfrm>
          <a:prstGeom prst="rect">
            <a:avLst/>
          </a:prstGeom>
          <a:noFill/>
          <a:ln w="38100" cap="flat" cmpd="sng">
            <a:solidFill>
              <a:srgbClr val="15395A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sp>
        <p:nvSpPr>
          <p:cNvPr id="230" name="Google Shape;230;p18"/>
          <p:cNvSpPr/>
          <p:nvPr/>
        </p:nvSpPr>
        <p:spPr>
          <a:xfrm>
            <a:off x="2107550" y="3752795"/>
            <a:ext cx="1801600" cy="741375"/>
          </a:xfrm>
          <a:custGeom>
            <a:avLst/>
            <a:gdLst/>
            <a:ahLst/>
            <a:cxnLst/>
            <a:rect l="l" t="t" r="r" b="b"/>
            <a:pathLst>
              <a:path w="72064" h="29655" extrusionOk="0">
                <a:moveTo>
                  <a:pt x="0" y="2801"/>
                </a:moveTo>
                <a:cubicBezTo>
                  <a:pt x="19376" y="2801"/>
                  <a:pt x="39982" y="-3657"/>
                  <a:pt x="58127" y="3141"/>
                </a:cubicBezTo>
                <a:cubicBezTo>
                  <a:pt x="67477" y="6644"/>
                  <a:pt x="68907" y="20183"/>
                  <a:pt x="72064" y="29655"/>
                </a:cubicBezTo>
              </a:path>
            </a:pathLst>
          </a:custGeom>
          <a:noFill/>
          <a:ln w="19050" cap="flat" cmpd="sng">
            <a:solidFill>
              <a:srgbClr val="C00000"/>
            </a:solidFill>
            <a:prstDash val="dash"/>
            <a:round/>
            <a:headEnd type="none" w="med" len="med"/>
            <a:tailEnd type="triangle" w="med" len="med"/>
          </a:ln>
        </p:spPr>
      </p:sp>
      <p:pic>
        <p:nvPicPr>
          <p:cNvPr id="231" name="Google Shape;231;p18"/>
          <p:cNvPicPr preferRelativeResize="0"/>
          <p:nvPr/>
        </p:nvPicPr>
        <p:blipFill rotWithShape="1">
          <a:blip r:embed="rId11">
            <a:alphaModFix/>
          </a:blip>
          <a:srcRect r="4625"/>
          <a:stretch/>
        </p:blipFill>
        <p:spPr>
          <a:xfrm>
            <a:off x="4646875" y="2816000"/>
            <a:ext cx="1205100" cy="2340000"/>
          </a:xfrm>
          <a:prstGeom prst="rect">
            <a:avLst/>
          </a:prstGeom>
          <a:noFill/>
          <a:ln w="38100" cap="flat" cmpd="sng">
            <a:solidFill>
              <a:srgbClr val="15395A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232" name="Google Shape;232;p18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3949124" y="2927600"/>
            <a:ext cx="1154973" cy="2113200"/>
          </a:xfrm>
          <a:prstGeom prst="rect">
            <a:avLst/>
          </a:prstGeom>
          <a:noFill/>
          <a:ln w="38100" cap="flat" cmpd="sng">
            <a:solidFill>
              <a:srgbClr val="15395A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</p:pic>
      <p:pic>
        <p:nvPicPr>
          <p:cNvPr id="233" name="Google Shape;233;p18" descr="Dédommagement de votre pass navigo | Bois-le-Roi"/>
          <p:cNvPicPr preferRelativeResize="0"/>
          <p:nvPr/>
        </p:nvPicPr>
        <p:blipFill rotWithShape="1">
          <a:blip r:embed="rId13">
            <a:alphaModFix/>
          </a:blip>
          <a:srcRect l="31165" t="11715" r="30743"/>
          <a:stretch/>
        </p:blipFill>
        <p:spPr>
          <a:xfrm rot="-4">
            <a:off x="6369001" y="3166276"/>
            <a:ext cx="511175" cy="887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" name="Google Shape;234;p18" descr="Wi-Fi contour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 rot="-9094020">
            <a:off x="6475261" y="3820477"/>
            <a:ext cx="343809" cy="343809"/>
          </a:xfrm>
          <a:prstGeom prst="rect">
            <a:avLst/>
          </a:prstGeom>
          <a:noFill/>
          <a:ln>
            <a:noFill/>
          </a:ln>
        </p:spPr>
      </p:pic>
      <p:sp>
        <p:nvSpPr>
          <p:cNvPr id="235" name="Google Shape;235;p18"/>
          <p:cNvSpPr txBox="1"/>
          <p:nvPr/>
        </p:nvSpPr>
        <p:spPr>
          <a:xfrm>
            <a:off x="7366938" y="5220450"/>
            <a:ext cx="384600" cy="382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fr" sz="3000" b="0" i="0" u="none" strike="noStrike" kern="0" cap="none" spc="0" normalizeH="0" baseline="0" noProof="0">
                <a:ln>
                  <a:noFill/>
                </a:ln>
                <a:solidFill>
                  <a:srgbClr val="DEEEFF"/>
                </a:solidFill>
                <a:effectLst/>
                <a:uLnTx/>
                <a:uFillTx/>
                <a:latin typeface="Open Sans ExtraBold"/>
                <a:ea typeface="Open Sans ExtraBold"/>
                <a:cs typeface="Open Sans ExtraBold"/>
                <a:sym typeface="Open Sans ExtraBold"/>
              </a:rPr>
              <a:t>5</a:t>
            </a:r>
            <a:endParaRPr kumimoji="0" sz="3000" b="0" i="0" u="none" strike="noStrike" kern="0" cap="none" spc="0" normalizeH="0" baseline="0" noProof="0">
              <a:ln>
                <a:noFill/>
              </a:ln>
              <a:solidFill>
                <a:srgbClr val="DEEEFF"/>
              </a:solidFill>
              <a:effectLst/>
              <a:uLnTx/>
              <a:uFillTx/>
              <a:latin typeface="Open Sans ExtraBold"/>
              <a:ea typeface="Open Sans ExtraBold"/>
              <a:cs typeface="Open Sans ExtraBold"/>
              <a:sym typeface="Open Sans ExtraBold"/>
            </a:endParaRPr>
          </a:p>
        </p:txBody>
      </p:sp>
      <p:sp>
        <p:nvSpPr>
          <p:cNvPr id="236" name="Google Shape;236;p18"/>
          <p:cNvSpPr txBox="1"/>
          <p:nvPr/>
        </p:nvSpPr>
        <p:spPr>
          <a:xfrm>
            <a:off x="7539716" y="5386050"/>
            <a:ext cx="1317600" cy="37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5" tIns="17150" rIns="34275" bIns="1715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" sz="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  <a:t>L’usager peut prolonger une réservation en cours ou annuler une réservation future depuis une rubrique dédiée</a:t>
            </a:r>
            <a:endParaRPr kumimoji="0" sz="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  <p:pic>
        <p:nvPicPr>
          <p:cNvPr id="237" name="Google Shape;237;p18"/>
          <p:cNvPicPr preferRelativeResize="0"/>
          <p:nvPr/>
        </p:nvPicPr>
        <p:blipFill rotWithShape="1">
          <a:blip r:embed="rId15">
            <a:alphaModFix/>
          </a:blip>
          <a:srcRect l="10624" r="10616"/>
          <a:stretch/>
        </p:blipFill>
        <p:spPr>
          <a:xfrm>
            <a:off x="6869020" y="3106069"/>
            <a:ext cx="511172" cy="649042"/>
          </a:xfrm>
          <a:prstGeom prst="rect">
            <a:avLst/>
          </a:prstGeom>
          <a:noFill/>
          <a:ln>
            <a:noFill/>
          </a:ln>
        </p:spPr>
      </p:pic>
      <p:sp>
        <p:nvSpPr>
          <p:cNvPr id="238" name="Google Shape;238;p18"/>
          <p:cNvSpPr txBox="1"/>
          <p:nvPr/>
        </p:nvSpPr>
        <p:spPr>
          <a:xfrm>
            <a:off x="276150" y="1164375"/>
            <a:ext cx="5768700" cy="5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r>
              <a:rPr kumimoji="0" lang="fr" sz="2900" b="0" i="0" u="none" strike="noStrike" kern="0" cap="none" spc="0" normalizeH="0" baseline="0" noProof="0" dirty="0">
                <a:ln>
                  <a:noFill/>
                </a:ln>
                <a:solidFill>
                  <a:srgbClr val="64B5F6"/>
                </a:solidFill>
                <a:effectLst/>
                <a:uLnTx/>
                <a:uFillTx/>
                <a:latin typeface="Open Sans Light"/>
                <a:ea typeface="Open Sans Light"/>
                <a:cs typeface="Open Sans Light"/>
                <a:sym typeface="Open Sans Light"/>
              </a:rPr>
              <a:t>Service MaaS intégré dans l’app</a:t>
            </a:r>
            <a:endParaRPr kumimoji="0" sz="2900" b="0" i="0" u="none" strike="noStrike" kern="0" cap="none" spc="0" normalizeH="0" baseline="0" noProof="0" dirty="0">
              <a:ln>
                <a:noFill/>
              </a:ln>
              <a:solidFill>
                <a:srgbClr val="64B5F6"/>
              </a:solidFill>
              <a:effectLst/>
              <a:uLnTx/>
              <a:uFillTx/>
              <a:latin typeface="Open Sans Light"/>
              <a:ea typeface="Open Sans Light"/>
              <a:cs typeface="Open Sans Light"/>
              <a:sym typeface="Open Sans Light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Tx/>
              <a:buNone/>
              <a:tabLst/>
              <a:defRPr/>
            </a:pPr>
            <a:r>
              <a:rPr kumimoji="0" lang="fr" sz="2250" b="1" i="0" u="none" strike="noStrike" kern="0" cap="none" spc="0" normalizeH="0" baseline="0" noProof="0" dirty="0">
                <a:ln>
                  <a:noFill/>
                </a:ln>
                <a:solidFill>
                  <a:srgbClr val="15395A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rPr>
              <a:t>Réservation de véhicules Communauto</a:t>
            </a:r>
            <a:endParaRPr kumimoji="0" sz="2250" b="1" i="0" u="none" strike="noStrike" kern="0" cap="none" spc="0" normalizeH="0" baseline="0" noProof="0" dirty="0">
              <a:ln>
                <a:noFill/>
              </a:ln>
              <a:solidFill>
                <a:srgbClr val="15395A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39" name="Google Shape;239;p18"/>
          <p:cNvSpPr/>
          <p:nvPr/>
        </p:nvSpPr>
        <p:spPr>
          <a:xfrm>
            <a:off x="85730" y="3520121"/>
            <a:ext cx="147645" cy="1147750"/>
          </a:xfrm>
          <a:custGeom>
            <a:avLst/>
            <a:gdLst/>
            <a:ahLst/>
            <a:cxnLst/>
            <a:rect l="l" t="t" r="r" b="b"/>
            <a:pathLst>
              <a:path w="10323" h="45910" extrusionOk="0">
                <a:moveTo>
                  <a:pt x="10323" y="0"/>
                </a:moveTo>
                <a:cubicBezTo>
                  <a:pt x="6746" y="4171"/>
                  <a:pt x="2649" y="8421"/>
                  <a:pt x="1179" y="13716"/>
                </a:cubicBezTo>
                <a:cubicBezTo>
                  <a:pt x="-1792" y="24416"/>
                  <a:pt x="864" y="39251"/>
                  <a:pt x="9751" y="45910"/>
                </a:cubicBezTo>
              </a:path>
            </a:pathLst>
          </a:custGeom>
          <a:noFill/>
          <a:ln w="19050" cap="flat" cmpd="sng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240" name="Google Shape;240;p18"/>
          <p:cNvSpPr/>
          <p:nvPr/>
        </p:nvSpPr>
        <p:spPr>
          <a:xfrm>
            <a:off x="1028701" y="4005275"/>
            <a:ext cx="1547825" cy="1142150"/>
          </a:xfrm>
          <a:custGeom>
            <a:avLst/>
            <a:gdLst/>
            <a:ahLst/>
            <a:cxnLst/>
            <a:rect l="l" t="t" r="r" b="b"/>
            <a:pathLst>
              <a:path w="61913" h="45686" extrusionOk="0">
                <a:moveTo>
                  <a:pt x="0" y="32575"/>
                </a:moveTo>
                <a:cubicBezTo>
                  <a:pt x="5075" y="35958"/>
                  <a:pt x="8447" y="42251"/>
                  <a:pt x="14288" y="44005"/>
                </a:cubicBezTo>
                <a:cubicBezTo>
                  <a:pt x="25427" y="47350"/>
                  <a:pt x="39464" y="45649"/>
                  <a:pt x="48768" y="38671"/>
                </a:cubicBezTo>
                <a:cubicBezTo>
                  <a:pt x="59660" y="30502"/>
                  <a:pt x="48298" y="0"/>
                  <a:pt x="61913" y="0"/>
                </a:cubicBezTo>
              </a:path>
            </a:pathLst>
          </a:custGeom>
          <a:noFill/>
          <a:ln w="19050" cap="flat" cmpd="sng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241" name="Google Shape;241;p18"/>
          <p:cNvSpPr/>
          <p:nvPr/>
        </p:nvSpPr>
        <p:spPr>
          <a:xfrm>
            <a:off x="3564476" y="3984200"/>
            <a:ext cx="333375" cy="595300"/>
          </a:xfrm>
          <a:custGeom>
            <a:avLst/>
            <a:gdLst/>
            <a:ahLst/>
            <a:cxnLst/>
            <a:rect l="l" t="t" r="r" b="b"/>
            <a:pathLst>
              <a:path w="13335" h="23812" extrusionOk="0">
                <a:moveTo>
                  <a:pt x="0" y="0"/>
                </a:moveTo>
                <a:cubicBezTo>
                  <a:pt x="9097" y="0"/>
                  <a:pt x="4508" y="21611"/>
                  <a:pt x="13335" y="23812"/>
                </a:cubicBezTo>
              </a:path>
            </a:pathLst>
          </a:custGeom>
          <a:noFill/>
          <a:ln w="19050" cap="flat" cmpd="sng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242" name="Google Shape;242;p18"/>
          <p:cNvSpPr/>
          <p:nvPr/>
        </p:nvSpPr>
        <p:spPr>
          <a:xfrm>
            <a:off x="4229100" y="5062550"/>
            <a:ext cx="566750" cy="174700"/>
          </a:xfrm>
          <a:custGeom>
            <a:avLst/>
            <a:gdLst/>
            <a:ahLst/>
            <a:cxnLst/>
            <a:rect l="l" t="t" r="r" b="b"/>
            <a:pathLst>
              <a:path w="22670" h="6988" extrusionOk="0">
                <a:moveTo>
                  <a:pt x="0" y="0"/>
                </a:moveTo>
                <a:cubicBezTo>
                  <a:pt x="1498" y="7468"/>
                  <a:pt x="19264" y="9669"/>
                  <a:pt x="22670" y="2857"/>
                </a:cubicBezTo>
              </a:path>
            </a:pathLst>
          </a:custGeom>
          <a:noFill/>
          <a:ln w="19050" cap="flat" cmpd="sng">
            <a:solidFill>
              <a:srgbClr val="C0000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243" name="Google Shape;243;p18"/>
          <p:cNvSpPr/>
          <p:nvPr/>
        </p:nvSpPr>
        <p:spPr>
          <a:xfrm>
            <a:off x="197375" y="4954270"/>
            <a:ext cx="879900" cy="1269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cxnSp>
        <p:nvCxnSpPr>
          <p:cNvPr id="244" name="Google Shape;244;p18"/>
          <p:cNvCxnSpPr/>
          <p:nvPr/>
        </p:nvCxnSpPr>
        <p:spPr>
          <a:xfrm>
            <a:off x="201195" y="4954270"/>
            <a:ext cx="8721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4" name="Google Shape;149;p16">
            <a:extLst>
              <a:ext uri="{FF2B5EF4-FFF2-40B4-BE49-F238E27FC236}">
                <a16:creationId xmlns:a16="http://schemas.microsoft.com/office/drawing/2014/main" id="{7AE05D6F-BB2F-1651-E495-03C67A27519A}"/>
              </a:ext>
            </a:extLst>
          </p:cNvPr>
          <p:cNvSpPr/>
          <p:nvPr/>
        </p:nvSpPr>
        <p:spPr>
          <a:xfrm>
            <a:off x="3717101" y="5937750"/>
            <a:ext cx="5204957" cy="798057"/>
          </a:xfrm>
          <a:prstGeom prst="roundRect">
            <a:avLst>
              <a:gd name="adj" fmla="val 6309"/>
            </a:avLst>
          </a:prstGeom>
          <a:noFill/>
          <a:ln w="28575" cap="flat" cmpd="sng">
            <a:solidFill>
              <a:srgbClr val="64B5F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Helvetica Neue Light"/>
                <a:cs typeface="Helvetica Neue Light"/>
                <a:sym typeface="Helvetica Neue Light"/>
              </a:rPr>
              <a:t>Extension de l’accès à l’information Voyageurs aux autres acteurs labellisés (3 actuels + 3 à venir en fin d’année)</a:t>
            </a:r>
          </a:p>
          <a:p>
            <a:pPr marL="171450" indent="-171450" defTabSz="914400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Neue Light"/>
                <a:ea typeface="+mn-ea"/>
                <a:cs typeface="+mn-cs"/>
                <a:sym typeface="Helvetica Neue Light"/>
              </a:rPr>
              <a:t>Prochaine intégration billettique non confirmée à date – En attente REX</a:t>
            </a: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 Light"/>
              <a:ea typeface="Helvetica Neue Light"/>
              <a:cs typeface="Helvetica Neue Light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3781968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g_fsyQj2EcYhw7gQo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YEXsNVoIlhYinPZVCn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g_fsyQj2EcYhw7gQo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MAYmtEF0etXBhbxo9v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MAYmtEF0etXBhbxo9v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MAYmtEF0etXBhbxo9v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YEXsNVoIlhYinPZVCn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g_fsyQj2EcYhw7gQo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MAYmtEF0etXBhbxo9v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MAYmtEF0etXBhbxo9v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YEXsNVoIlhYinPZVCn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g_fsyQj2EcYhw7gQo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MAYmtEF0etXBhbxo9v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K2.P8MyWaqkMvfA74v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MAYmtEF0etXBhbxo9vt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MAYmtEF0etXBhbxo9v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YEXsNVoIlhYinPZVCn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g_fsyQj2EcYhw7gQo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YEXsNVoIlhYinPZVCnFQ"/>
</p:tagLst>
</file>

<file path=ppt/theme/theme1.xml><?xml version="1.0" encoding="utf-8"?>
<a:theme xmlns:a="http://schemas.openxmlformats.org/drawingml/2006/main" name="Office Them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eme1">
  <a:themeElements>
    <a:clrScheme name="Personnalisé 1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71CAF3"/>
      </a:accent1>
      <a:accent2>
        <a:srgbClr val="4CC2F1"/>
      </a:accent2>
      <a:accent3>
        <a:srgbClr val="00ADE9"/>
      </a:accent3>
      <a:accent4>
        <a:srgbClr val="007FB9"/>
      </a:accent4>
      <a:accent5>
        <a:srgbClr val="19486D"/>
      </a:accent5>
      <a:accent6>
        <a:srgbClr val="11273B"/>
      </a:accent6>
      <a:hlink>
        <a:srgbClr val="7030A0"/>
      </a:hlink>
      <a:folHlink>
        <a:srgbClr val="00B0F0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1" id="{A973F907-3507-4DBB-97B7-CCB2BDF626FA}" vid="{0DF59CC0-156D-4DB0-977B-F0173AD2D971}"/>
    </a:ext>
  </a:extLst>
</a:theme>
</file>

<file path=ppt/theme/theme3.xml><?xml version="1.0" encoding="utf-8"?>
<a:theme xmlns:a="http://schemas.openxmlformats.org/drawingml/2006/main" name="1_Theme1">
  <a:themeElements>
    <a:clrScheme name="Personnalisé 1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71CAF3"/>
      </a:accent1>
      <a:accent2>
        <a:srgbClr val="4CC2F1"/>
      </a:accent2>
      <a:accent3>
        <a:srgbClr val="00ADE9"/>
      </a:accent3>
      <a:accent4>
        <a:srgbClr val="007FB9"/>
      </a:accent4>
      <a:accent5>
        <a:srgbClr val="19486D"/>
      </a:accent5>
      <a:accent6>
        <a:srgbClr val="11273B"/>
      </a:accent6>
      <a:hlink>
        <a:srgbClr val="7030A0"/>
      </a:hlink>
      <a:folHlink>
        <a:srgbClr val="00B0F0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1" id="{A973F907-3507-4DBB-97B7-CCB2BDF626FA}" vid="{0DF59CC0-156D-4DB0-977B-F0173AD2D971}"/>
    </a:ext>
  </a:extLst>
</a:theme>
</file>

<file path=ppt/theme/theme4.xml><?xml version="1.0" encoding="utf-8"?>
<a:theme xmlns:a="http://schemas.openxmlformats.org/drawingml/2006/main" name="2_Theme1">
  <a:themeElements>
    <a:clrScheme name="Personnalisé 1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71CAF3"/>
      </a:accent1>
      <a:accent2>
        <a:srgbClr val="4CC2F1"/>
      </a:accent2>
      <a:accent3>
        <a:srgbClr val="00ADE9"/>
      </a:accent3>
      <a:accent4>
        <a:srgbClr val="007FB9"/>
      </a:accent4>
      <a:accent5>
        <a:srgbClr val="19486D"/>
      </a:accent5>
      <a:accent6>
        <a:srgbClr val="11273B"/>
      </a:accent6>
      <a:hlink>
        <a:srgbClr val="7030A0"/>
      </a:hlink>
      <a:folHlink>
        <a:srgbClr val="00B0F0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1" id="{A973F907-3507-4DBB-97B7-CCB2BDF626FA}" vid="{0DF59CC0-156D-4DB0-977B-F0173AD2D971}"/>
    </a:ext>
  </a:extLst>
</a:theme>
</file>

<file path=ppt/theme/theme5.xml><?xml version="1.0" encoding="utf-8"?>
<a:theme xmlns:a="http://schemas.openxmlformats.org/drawingml/2006/main" name="3_Theme1">
  <a:themeElements>
    <a:clrScheme name="Personnalisé 1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71CAF3"/>
      </a:accent1>
      <a:accent2>
        <a:srgbClr val="4CC2F1"/>
      </a:accent2>
      <a:accent3>
        <a:srgbClr val="00ADE9"/>
      </a:accent3>
      <a:accent4>
        <a:srgbClr val="007FB9"/>
      </a:accent4>
      <a:accent5>
        <a:srgbClr val="19486D"/>
      </a:accent5>
      <a:accent6>
        <a:srgbClr val="11273B"/>
      </a:accent6>
      <a:hlink>
        <a:srgbClr val="7030A0"/>
      </a:hlink>
      <a:folHlink>
        <a:srgbClr val="00B0F0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1" id="{A973F907-3507-4DBB-97B7-CCB2BDF626FA}" vid="{0DF59CC0-156D-4DB0-977B-F0173AD2D971}"/>
    </a:ext>
  </a:extLst>
</a:theme>
</file>

<file path=ppt/theme/theme6.xml><?xml version="1.0" encoding="utf-8"?>
<a:theme xmlns:a="http://schemas.openxmlformats.org/drawingml/2006/main" name="4_Theme1">
  <a:themeElements>
    <a:clrScheme name="Personnalisé 1">
      <a:dk1>
        <a:srgbClr val="57565A"/>
      </a:dk1>
      <a:lt1>
        <a:srgbClr val="FFFFFF"/>
      </a:lt1>
      <a:dk2>
        <a:srgbClr val="1C5686"/>
      </a:dk2>
      <a:lt2>
        <a:srgbClr val="176490"/>
      </a:lt2>
      <a:accent1>
        <a:srgbClr val="71CAF3"/>
      </a:accent1>
      <a:accent2>
        <a:srgbClr val="4CC2F1"/>
      </a:accent2>
      <a:accent3>
        <a:srgbClr val="00ADE9"/>
      </a:accent3>
      <a:accent4>
        <a:srgbClr val="007FB9"/>
      </a:accent4>
      <a:accent5>
        <a:srgbClr val="19486D"/>
      </a:accent5>
      <a:accent6>
        <a:srgbClr val="11273B"/>
      </a:accent6>
      <a:hlink>
        <a:srgbClr val="7030A0"/>
      </a:hlink>
      <a:folHlink>
        <a:srgbClr val="00B0F0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heme1" id="{A973F907-3507-4DBB-97B7-CCB2BDF626FA}" vid="{0DF59CC0-156D-4DB0-977B-F0173AD2D971}"/>
    </a:ext>
  </a:extLst>
</a:theme>
</file>

<file path=ppt/theme/theme7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4cba471-ecca-4c2a-9e47-00ca2b000b96" xsi:nil="true"/>
    <lcf76f155ced4ddcb4097134ff3c332f xmlns="02233f0c-ba31-4ca5-8e35-b0a379f977bf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892A3879B6D04B9010C2B7B1085C5B" ma:contentTypeVersion="15" ma:contentTypeDescription="Crée un document." ma:contentTypeScope="" ma:versionID="ef4a1d30d4101edb1d7c1e116ab4fd6b">
  <xsd:schema xmlns:xsd="http://www.w3.org/2001/XMLSchema" xmlns:xs="http://www.w3.org/2001/XMLSchema" xmlns:p="http://schemas.microsoft.com/office/2006/metadata/properties" xmlns:ns2="02233f0c-ba31-4ca5-8e35-b0a379f977bf" xmlns:ns3="24cba471-ecca-4c2a-9e47-00ca2b000b96" targetNamespace="http://schemas.microsoft.com/office/2006/metadata/properties" ma:root="true" ma:fieldsID="f10c0fcf305997ec1b6b3bb8bd4a47b8" ns2:_="" ns3:_="">
    <xsd:import namespace="02233f0c-ba31-4ca5-8e35-b0a379f977bf"/>
    <xsd:import namespace="24cba471-ecca-4c2a-9e47-00ca2b000b9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233f0c-ba31-4ca5-8e35-b0a379f977b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alises d’images" ma:readOnly="false" ma:fieldId="{5cf76f15-5ced-4ddc-b409-7134ff3c332f}" ma:taxonomyMulti="true" ma:sspId="1d4d29aa-6a82-4bfd-8ff2-762e9dc2e83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cba471-ecca-4c2a-9e47-00ca2b000b9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45ba5e98-498d-4af8-9997-f355c3d82ea0}" ma:internalName="TaxCatchAll" ma:showField="CatchAllData" ma:web="24cba471-ecca-4c2a-9e47-00ca2b000b9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909A468-6306-4E12-AC04-5CF0EBF49E2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09DA4F-C7F6-42DA-974E-16D95FEB4AB7}">
  <ds:schemaRefs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elements/1.1/"/>
    <ds:schemaRef ds:uri="02233f0c-ba31-4ca5-8e35-b0a379f977bf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24cba471-ecca-4c2a-9e47-00ca2b000b96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14C54E8-80FE-44C8-B23F-397D4D8008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233f0c-ba31-4ca5-8e35-b0a379f977bf"/>
    <ds:schemaRef ds:uri="24cba471-ecca-4c2a-9e47-00ca2b000b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022</TotalTime>
  <Words>326</Words>
  <Application>Microsoft Office PowerPoint</Application>
  <PresentationFormat>Affichage à l'écran (4:3)</PresentationFormat>
  <Paragraphs>57</Paragraphs>
  <Slides>5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7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26" baseType="lpstr">
      <vt:lpstr>Arial</vt:lpstr>
      <vt:lpstr>Calibri</vt:lpstr>
      <vt:lpstr>Helvetica Neue</vt:lpstr>
      <vt:lpstr>Helvetica Neue Light</vt:lpstr>
      <vt:lpstr>Lato</vt:lpstr>
      <vt:lpstr>Lato Light</vt:lpstr>
      <vt:lpstr>Lato Semibold</vt:lpstr>
      <vt:lpstr>Open Sans</vt:lpstr>
      <vt:lpstr>Open Sans ExtraBold</vt:lpstr>
      <vt:lpstr>Open Sans Light</vt:lpstr>
      <vt:lpstr>Segoe UI</vt:lpstr>
      <vt:lpstr>Segoe UI Light</vt:lpstr>
      <vt:lpstr>Wingdings</vt:lpstr>
      <vt:lpstr>Office Theme</vt:lpstr>
      <vt:lpstr>Theme1</vt:lpstr>
      <vt:lpstr>1_Theme1</vt:lpstr>
      <vt:lpstr>2_Theme1</vt:lpstr>
      <vt:lpstr>3_Theme1</vt:lpstr>
      <vt:lpstr>4_Theme1</vt:lpstr>
      <vt:lpstr>Simple Light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VIDAL Lise</dc:creator>
  <cp:lastModifiedBy>Berangere DECROS</cp:lastModifiedBy>
  <cp:revision>20</cp:revision>
  <cp:lastPrinted>2020-02-25T08:44:58Z</cp:lastPrinted>
  <dcterms:created xsi:type="dcterms:W3CDTF">2017-06-26T07:48:34Z</dcterms:created>
  <dcterms:modified xsi:type="dcterms:W3CDTF">2022-11-09T09:1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892A3879B6D04B9010C2B7B1085C5B</vt:lpwstr>
  </property>
  <property fmtid="{D5CDD505-2E9C-101B-9397-08002B2CF9AE}" pid="3" name="AuthorIds_UIVersion_7168">
    <vt:lpwstr>11</vt:lpwstr>
  </property>
  <property fmtid="{D5CDD505-2E9C-101B-9397-08002B2CF9AE}" pid="4" name="MediaServiceImageTags">
    <vt:lpwstr/>
  </property>
</Properties>
</file>